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4"/>
  </p:notesMasterIdLst>
  <p:sldIdLst>
    <p:sldId id="256" r:id="rId2"/>
    <p:sldId id="257" r:id="rId3"/>
    <p:sldId id="267" r:id="rId4"/>
    <p:sldId id="259" r:id="rId5"/>
    <p:sldId id="299" r:id="rId6"/>
    <p:sldId id="300" r:id="rId7"/>
    <p:sldId id="301" r:id="rId8"/>
    <p:sldId id="266" r:id="rId9"/>
    <p:sldId id="268" r:id="rId10"/>
    <p:sldId id="302" r:id="rId11"/>
    <p:sldId id="303" r:id="rId12"/>
    <p:sldId id="304" r:id="rId13"/>
    <p:sldId id="279" r:id="rId14"/>
    <p:sldId id="271" r:id="rId15"/>
    <p:sldId id="289" r:id="rId16"/>
    <p:sldId id="272" r:id="rId17"/>
    <p:sldId id="305" r:id="rId18"/>
    <p:sldId id="306" r:id="rId19"/>
    <p:sldId id="274" r:id="rId20"/>
    <p:sldId id="296" r:id="rId21"/>
    <p:sldId id="297" r:id="rId22"/>
    <p:sldId id="275" r:id="rId23"/>
    <p:sldId id="290" r:id="rId24"/>
    <p:sldId id="291" r:id="rId25"/>
    <p:sldId id="283" r:id="rId26"/>
    <p:sldId id="310" r:id="rId27"/>
    <p:sldId id="311" r:id="rId28"/>
    <p:sldId id="309" r:id="rId29"/>
    <p:sldId id="294" r:id="rId30"/>
    <p:sldId id="307" r:id="rId31"/>
    <p:sldId id="308" r:id="rId32"/>
    <p:sldId id="312"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4832C4-EF9D-47E0-A929-2766EC1E0D8E}" v="1271" dt="2024-11-08T12:48:32.4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94" autoAdjust="0"/>
    <p:restoredTop sz="94660"/>
  </p:normalViewPr>
  <p:slideViewPr>
    <p:cSldViewPr snapToGrid="0">
      <p:cViewPr>
        <p:scale>
          <a:sx n="66" d="100"/>
          <a:sy n="66" d="100"/>
        </p:scale>
        <p:origin x="1926" y="930"/>
      </p:cViewPr>
      <p:guideLst/>
    </p:cSldViewPr>
  </p:slideViewPr>
  <p:notesTextViewPr>
    <p:cViewPr>
      <p:scale>
        <a:sx n="1" d="1"/>
        <a:sy n="1" d="1"/>
      </p:scale>
      <p:origin x="0" y="0"/>
    </p:cViewPr>
  </p:notesTextViewPr>
  <p:sorterViewPr>
    <p:cViewPr>
      <p:scale>
        <a:sx n="150" d="100"/>
        <a:sy n="150" d="100"/>
      </p:scale>
      <p:origin x="0" y="-766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6/11/relationships/changesInfo" Target="changesInfos/changesInfo1.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 Varatharaj Kannan (365)" userId="4059857b-a82a-4577-ac2c-643e9c05e9a3" providerId="ADAL" clId="{404832C4-EF9D-47E0-A929-2766EC1E0D8E}"/>
    <pc:docChg chg="undo redo custSel addSld delSld modSld sldOrd">
      <pc:chgData name="S, Varatharaj Kannan (365)" userId="4059857b-a82a-4577-ac2c-643e9c05e9a3" providerId="ADAL" clId="{404832C4-EF9D-47E0-A929-2766EC1E0D8E}" dt="2024-11-08T12:48:32.453" v="5134" actId="1076"/>
      <pc:docMkLst>
        <pc:docMk/>
      </pc:docMkLst>
      <pc:sldChg chg="addSp delSp modSp mod">
        <pc:chgData name="S, Varatharaj Kannan (365)" userId="4059857b-a82a-4577-ac2c-643e9c05e9a3" providerId="ADAL" clId="{404832C4-EF9D-47E0-A929-2766EC1E0D8E}" dt="2024-11-08T12:11:08.627" v="4534" actId="20577"/>
        <pc:sldMkLst>
          <pc:docMk/>
          <pc:sldMk cId="2872121668" sldId="256"/>
        </pc:sldMkLst>
        <pc:spChg chg="mod ord">
          <ac:chgData name="S, Varatharaj Kannan (365)" userId="4059857b-a82a-4577-ac2c-643e9c05e9a3" providerId="ADAL" clId="{404832C4-EF9D-47E0-A929-2766EC1E0D8E}" dt="2024-11-08T05:53:10.909" v="2941"/>
          <ac:spMkLst>
            <pc:docMk/>
            <pc:sldMk cId="2872121668" sldId="256"/>
            <ac:spMk id="6" creationId="{442D6ACD-F109-A777-D583-DA75E2E23A58}"/>
          </ac:spMkLst>
        </pc:spChg>
        <pc:spChg chg="mod ord">
          <ac:chgData name="S, Varatharaj Kannan (365)" userId="4059857b-a82a-4577-ac2c-643e9c05e9a3" providerId="ADAL" clId="{404832C4-EF9D-47E0-A929-2766EC1E0D8E}" dt="2024-11-08T12:11:08.627" v="4534" actId="20577"/>
          <ac:spMkLst>
            <pc:docMk/>
            <pc:sldMk cId="2872121668" sldId="256"/>
            <ac:spMk id="11" creationId="{C37D54FE-E77F-A4A9-983C-B42F44D05F98}"/>
          </ac:spMkLst>
        </pc:spChg>
        <pc:graphicFrameChg chg="mod">
          <ac:chgData name="S, Varatharaj Kannan (365)" userId="4059857b-a82a-4577-ac2c-643e9c05e9a3" providerId="ADAL" clId="{404832C4-EF9D-47E0-A929-2766EC1E0D8E}" dt="2024-11-07T05:41:32.449" v="431"/>
          <ac:graphicFrameMkLst>
            <pc:docMk/>
            <pc:sldMk cId="2872121668" sldId="256"/>
            <ac:graphicFrameMk id="4" creationId="{FDD4C56C-307F-6795-EEF6-DD3D45A76300}"/>
          </ac:graphicFrameMkLst>
        </pc:graphicFrameChg>
        <pc:picChg chg="add del mod">
          <ac:chgData name="S, Varatharaj Kannan (365)" userId="4059857b-a82a-4577-ac2c-643e9c05e9a3" providerId="ADAL" clId="{404832C4-EF9D-47E0-A929-2766EC1E0D8E}" dt="2024-11-08T06:25:40.983" v="3729" actId="478"/>
          <ac:picMkLst>
            <pc:docMk/>
            <pc:sldMk cId="2872121668" sldId="256"/>
            <ac:picMk id="5122" creationId="{CD2E707A-9FB0-79C4-06BA-4D6B6E17BCC4}"/>
          </ac:picMkLst>
        </pc:picChg>
        <pc:cxnChg chg="mod ord">
          <ac:chgData name="S, Varatharaj Kannan (365)" userId="4059857b-a82a-4577-ac2c-643e9c05e9a3" providerId="ADAL" clId="{404832C4-EF9D-47E0-A929-2766EC1E0D8E}" dt="2024-11-07T05:41:32.433" v="427"/>
          <ac:cxnSpMkLst>
            <pc:docMk/>
            <pc:sldMk cId="2872121668" sldId="256"/>
            <ac:cxnSpMk id="8" creationId="{9080B88E-7D47-338D-2772-6245EA9EC7E0}"/>
          </ac:cxnSpMkLst>
        </pc:cxnChg>
      </pc:sldChg>
      <pc:sldChg chg="addSp modSp">
        <pc:chgData name="S, Varatharaj Kannan (365)" userId="4059857b-a82a-4577-ac2c-643e9c05e9a3" providerId="ADAL" clId="{404832C4-EF9D-47E0-A929-2766EC1E0D8E}" dt="2024-11-05T03:04:54.362" v="0"/>
        <pc:sldMkLst>
          <pc:docMk/>
          <pc:sldMk cId="2473461994" sldId="257"/>
        </pc:sldMkLst>
        <pc:spChg chg="add mod">
          <ac:chgData name="S, Varatharaj Kannan (365)" userId="4059857b-a82a-4577-ac2c-643e9c05e9a3" providerId="ADAL" clId="{404832C4-EF9D-47E0-A929-2766EC1E0D8E}" dt="2024-11-05T03:04:54.362" v="0"/>
          <ac:spMkLst>
            <pc:docMk/>
            <pc:sldMk cId="2473461994" sldId="257"/>
            <ac:spMk id="3" creationId="{FFABD910-F4AA-3E60-7302-29A885790DE5}"/>
          </ac:spMkLst>
        </pc:spChg>
        <pc:spChg chg="add mod">
          <ac:chgData name="S, Varatharaj Kannan (365)" userId="4059857b-a82a-4577-ac2c-643e9c05e9a3" providerId="ADAL" clId="{404832C4-EF9D-47E0-A929-2766EC1E0D8E}" dt="2024-11-05T03:04:54.362" v="0"/>
          <ac:spMkLst>
            <pc:docMk/>
            <pc:sldMk cId="2473461994" sldId="257"/>
            <ac:spMk id="5" creationId="{57DD5537-6B23-C0CE-E8C8-32278DA3496F}"/>
          </ac:spMkLst>
        </pc:spChg>
        <pc:spChg chg="add mod">
          <ac:chgData name="S, Varatharaj Kannan (365)" userId="4059857b-a82a-4577-ac2c-643e9c05e9a3" providerId="ADAL" clId="{404832C4-EF9D-47E0-A929-2766EC1E0D8E}" dt="2024-11-05T03:04:54.362" v="0"/>
          <ac:spMkLst>
            <pc:docMk/>
            <pc:sldMk cId="2473461994" sldId="257"/>
            <ac:spMk id="6" creationId="{C19ACD06-259B-46E5-AE42-8FA4AFB8142F}"/>
          </ac:spMkLst>
        </pc:spChg>
        <pc:spChg chg="add mod">
          <ac:chgData name="S, Varatharaj Kannan (365)" userId="4059857b-a82a-4577-ac2c-643e9c05e9a3" providerId="ADAL" clId="{404832C4-EF9D-47E0-A929-2766EC1E0D8E}" dt="2024-11-05T03:04:54.362" v="0"/>
          <ac:spMkLst>
            <pc:docMk/>
            <pc:sldMk cId="2473461994" sldId="257"/>
            <ac:spMk id="7" creationId="{00BF25BB-F10C-B12C-DF77-17BD61E0A253}"/>
          </ac:spMkLst>
        </pc:spChg>
        <pc:spChg chg="add mod">
          <ac:chgData name="S, Varatharaj Kannan (365)" userId="4059857b-a82a-4577-ac2c-643e9c05e9a3" providerId="ADAL" clId="{404832C4-EF9D-47E0-A929-2766EC1E0D8E}" dt="2024-11-05T03:04:54.362" v="0"/>
          <ac:spMkLst>
            <pc:docMk/>
            <pc:sldMk cId="2473461994" sldId="257"/>
            <ac:spMk id="8" creationId="{43573149-B4ED-8EA2-B68A-C8D5CA930DA8}"/>
          </ac:spMkLst>
        </pc:spChg>
        <pc:spChg chg="mod">
          <ac:chgData name="S, Varatharaj Kannan (365)" userId="4059857b-a82a-4577-ac2c-643e9c05e9a3" providerId="ADAL" clId="{404832C4-EF9D-47E0-A929-2766EC1E0D8E}" dt="2024-11-05T03:04:54.362" v="0"/>
          <ac:spMkLst>
            <pc:docMk/>
            <pc:sldMk cId="2473461994" sldId="257"/>
            <ac:spMk id="10" creationId="{4E785158-17AD-2B7D-61C5-2B35DBF891B9}"/>
          </ac:spMkLst>
        </pc:spChg>
        <pc:spChg chg="mod">
          <ac:chgData name="S, Varatharaj Kannan (365)" userId="4059857b-a82a-4577-ac2c-643e9c05e9a3" providerId="ADAL" clId="{404832C4-EF9D-47E0-A929-2766EC1E0D8E}" dt="2024-11-05T03:04:54.362" v="0"/>
          <ac:spMkLst>
            <pc:docMk/>
            <pc:sldMk cId="2473461994" sldId="257"/>
            <ac:spMk id="11" creationId="{9B421737-ED93-FF53-BB81-EEC2CF7C6134}"/>
          </ac:spMkLst>
        </pc:spChg>
        <pc:spChg chg="mod">
          <ac:chgData name="S, Varatharaj Kannan (365)" userId="4059857b-a82a-4577-ac2c-643e9c05e9a3" providerId="ADAL" clId="{404832C4-EF9D-47E0-A929-2766EC1E0D8E}" dt="2024-11-05T03:04:54.362" v="0"/>
          <ac:spMkLst>
            <pc:docMk/>
            <pc:sldMk cId="2473461994" sldId="257"/>
            <ac:spMk id="12" creationId="{FD8AE304-44B0-B6B1-62D0-9DFB30C6F9C2}"/>
          </ac:spMkLst>
        </pc:spChg>
        <pc:spChg chg="add mod">
          <ac:chgData name="S, Varatharaj Kannan (365)" userId="4059857b-a82a-4577-ac2c-643e9c05e9a3" providerId="ADAL" clId="{404832C4-EF9D-47E0-A929-2766EC1E0D8E}" dt="2024-11-05T03:04:54.362" v="0"/>
          <ac:spMkLst>
            <pc:docMk/>
            <pc:sldMk cId="2473461994" sldId="257"/>
            <ac:spMk id="13" creationId="{39248AE4-F556-0CDA-A63F-7F938A461DF0}"/>
          </ac:spMkLst>
        </pc:spChg>
        <pc:spChg chg="add mod">
          <ac:chgData name="S, Varatharaj Kannan (365)" userId="4059857b-a82a-4577-ac2c-643e9c05e9a3" providerId="ADAL" clId="{404832C4-EF9D-47E0-A929-2766EC1E0D8E}" dt="2024-11-05T03:04:54.362" v="0"/>
          <ac:spMkLst>
            <pc:docMk/>
            <pc:sldMk cId="2473461994" sldId="257"/>
            <ac:spMk id="14" creationId="{A6BD9F3B-59A9-F399-C3EB-F76DD2C93DC0}"/>
          </ac:spMkLst>
        </pc:spChg>
        <pc:grpChg chg="add mod">
          <ac:chgData name="S, Varatharaj Kannan (365)" userId="4059857b-a82a-4577-ac2c-643e9c05e9a3" providerId="ADAL" clId="{404832C4-EF9D-47E0-A929-2766EC1E0D8E}" dt="2024-11-05T03:04:54.362" v="0"/>
          <ac:grpSpMkLst>
            <pc:docMk/>
            <pc:sldMk cId="2473461994" sldId="257"/>
            <ac:grpSpMk id="9" creationId="{05667394-6030-917E-A7F9-D71985263295}"/>
          </ac:grpSpMkLst>
        </pc:grpChg>
        <pc:picChg chg="add mod">
          <ac:chgData name="S, Varatharaj Kannan (365)" userId="4059857b-a82a-4577-ac2c-643e9c05e9a3" providerId="ADAL" clId="{404832C4-EF9D-47E0-A929-2766EC1E0D8E}" dt="2024-11-05T03:04:54.362" v="0"/>
          <ac:picMkLst>
            <pc:docMk/>
            <pc:sldMk cId="2473461994" sldId="257"/>
            <ac:picMk id="2" creationId="{C8742313-4ECA-1487-E816-E642EF1AB7DF}"/>
          </ac:picMkLst>
        </pc:picChg>
      </pc:sldChg>
      <pc:sldChg chg="addSp modSp del mod">
        <pc:chgData name="S, Varatharaj Kannan (365)" userId="4059857b-a82a-4577-ac2c-643e9c05e9a3" providerId="ADAL" clId="{404832C4-EF9D-47E0-A929-2766EC1E0D8E}" dt="2024-11-08T07:16:15.545" v="4217" actId="47"/>
        <pc:sldMkLst>
          <pc:docMk/>
          <pc:sldMk cId="3284721291" sldId="258"/>
        </pc:sldMkLst>
        <pc:spChg chg="add mod">
          <ac:chgData name="S, Varatharaj Kannan (365)" userId="4059857b-a82a-4577-ac2c-643e9c05e9a3" providerId="ADAL" clId="{404832C4-EF9D-47E0-A929-2766EC1E0D8E}" dt="2024-11-07T05:31:06.981" v="312" actId="14100"/>
          <ac:spMkLst>
            <pc:docMk/>
            <pc:sldMk cId="3284721291" sldId="258"/>
            <ac:spMk id="2" creationId="{C9E208BC-3768-0C94-0C2A-9F74E4189742}"/>
          </ac:spMkLst>
        </pc:spChg>
        <pc:spChg chg="add mod">
          <ac:chgData name="S, Varatharaj Kannan (365)" userId="4059857b-a82a-4577-ac2c-643e9c05e9a3" providerId="ADAL" clId="{404832C4-EF9D-47E0-A929-2766EC1E0D8E}" dt="2024-11-07T05:35:26.707" v="359" actId="14100"/>
          <ac:spMkLst>
            <pc:docMk/>
            <pc:sldMk cId="3284721291" sldId="258"/>
            <ac:spMk id="3" creationId="{96E64C29-F937-972E-B851-92963F7C46A0}"/>
          </ac:spMkLst>
        </pc:spChg>
        <pc:picChg chg="add mod">
          <ac:chgData name="S, Varatharaj Kannan (365)" userId="4059857b-a82a-4577-ac2c-643e9c05e9a3" providerId="ADAL" clId="{404832C4-EF9D-47E0-A929-2766EC1E0D8E}" dt="2024-11-07T05:31:34.866" v="320" actId="1076"/>
          <ac:picMkLst>
            <pc:docMk/>
            <pc:sldMk cId="3284721291" sldId="258"/>
            <ac:picMk id="2050" creationId="{43D254EC-0955-A1CB-1B72-E9827A226242}"/>
          </ac:picMkLst>
        </pc:picChg>
        <pc:picChg chg="add mod">
          <ac:chgData name="S, Varatharaj Kannan (365)" userId="4059857b-a82a-4577-ac2c-643e9c05e9a3" providerId="ADAL" clId="{404832C4-EF9D-47E0-A929-2766EC1E0D8E}" dt="2024-11-07T05:31:37.005" v="321" actId="1076"/>
          <ac:picMkLst>
            <pc:docMk/>
            <pc:sldMk cId="3284721291" sldId="258"/>
            <ac:picMk id="2052" creationId="{B769229C-8E68-5BF8-C0D2-5FC5109DF499}"/>
          </ac:picMkLst>
        </pc:picChg>
        <pc:picChg chg="add mod">
          <ac:chgData name="S, Varatharaj Kannan (365)" userId="4059857b-a82a-4577-ac2c-643e9c05e9a3" providerId="ADAL" clId="{404832C4-EF9D-47E0-A929-2766EC1E0D8E}" dt="2024-11-07T05:29:07.816" v="299" actId="1076"/>
          <ac:picMkLst>
            <pc:docMk/>
            <pc:sldMk cId="3284721291" sldId="258"/>
            <ac:picMk id="2054" creationId="{F451FF1C-EAFD-78F8-89AF-EDE872A64990}"/>
          </ac:picMkLst>
        </pc:picChg>
        <pc:picChg chg="add mod">
          <ac:chgData name="S, Varatharaj Kannan (365)" userId="4059857b-a82a-4577-ac2c-643e9c05e9a3" providerId="ADAL" clId="{404832C4-EF9D-47E0-A929-2766EC1E0D8E}" dt="2024-11-07T05:31:39.389" v="322" actId="1076"/>
          <ac:picMkLst>
            <pc:docMk/>
            <pc:sldMk cId="3284721291" sldId="258"/>
            <ac:picMk id="2056" creationId="{65E0AE54-CDB0-AC85-F00A-E927EF20F85B}"/>
          </ac:picMkLst>
        </pc:picChg>
        <pc:picChg chg="add mod">
          <ac:chgData name="S, Varatharaj Kannan (365)" userId="4059857b-a82a-4577-ac2c-643e9c05e9a3" providerId="ADAL" clId="{404832C4-EF9D-47E0-A929-2766EC1E0D8E}" dt="2024-11-07T05:31:48.780" v="323" actId="1076"/>
          <ac:picMkLst>
            <pc:docMk/>
            <pc:sldMk cId="3284721291" sldId="258"/>
            <ac:picMk id="2058" creationId="{05C029C5-5BBC-D5F4-73C0-24C12BCDE7B2}"/>
          </ac:picMkLst>
        </pc:picChg>
        <pc:picChg chg="add mod">
          <ac:chgData name="S, Varatharaj Kannan (365)" userId="4059857b-a82a-4577-ac2c-643e9c05e9a3" providerId="ADAL" clId="{404832C4-EF9D-47E0-A929-2766EC1E0D8E}" dt="2024-11-07T05:30:18.746" v="308" actId="1076"/>
          <ac:picMkLst>
            <pc:docMk/>
            <pc:sldMk cId="3284721291" sldId="258"/>
            <ac:picMk id="2060" creationId="{2934CA89-E615-680E-D0AB-B6CC92C473DE}"/>
          </ac:picMkLst>
        </pc:picChg>
        <pc:picChg chg="add mod">
          <ac:chgData name="S, Varatharaj Kannan (365)" userId="4059857b-a82a-4577-ac2c-643e9c05e9a3" providerId="ADAL" clId="{404832C4-EF9D-47E0-A929-2766EC1E0D8E}" dt="2024-11-07T05:31:21.357" v="316" actId="1076"/>
          <ac:picMkLst>
            <pc:docMk/>
            <pc:sldMk cId="3284721291" sldId="258"/>
            <ac:picMk id="2062" creationId="{844FC1B1-DD62-404C-E33C-0059163EFBC0}"/>
          </ac:picMkLst>
        </pc:picChg>
        <pc:picChg chg="add mod">
          <ac:chgData name="S, Varatharaj Kannan (365)" userId="4059857b-a82a-4577-ac2c-643e9c05e9a3" providerId="ADAL" clId="{404832C4-EF9D-47E0-A929-2766EC1E0D8E}" dt="2024-11-07T05:31:14.570" v="314" actId="1076"/>
          <ac:picMkLst>
            <pc:docMk/>
            <pc:sldMk cId="3284721291" sldId="258"/>
            <ac:picMk id="2064" creationId="{F21E73E7-5368-10EF-0192-076C6CC63345}"/>
          </ac:picMkLst>
        </pc:picChg>
        <pc:cxnChg chg="add">
          <ac:chgData name="S, Varatharaj Kannan (365)" userId="4059857b-a82a-4577-ac2c-643e9c05e9a3" providerId="ADAL" clId="{404832C4-EF9D-47E0-A929-2766EC1E0D8E}" dt="2024-11-05T03:07:01.527" v="67" actId="11529"/>
          <ac:cxnSpMkLst>
            <pc:docMk/>
            <pc:sldMk cId="3284721291" sldId="258"/>
            <ac:cxnSpMk id="6" creationId="{42D1CC38-1D65-A8A0-F06B-4935CDF813A6}"/>
          </ac:cxnSpMkLst>
        </pc:cxnChg>
      </pc:sldChg>
      <pc:sldChg chg="addSp delSp modSp mod">
        <pc:chgData name="S, Varatharaj Kannan (365)" userId="4059857b-a82a-4577-ac2c-643e9c05e9a3" providerId="ADAL" clId="{404832C4-EF9D-47E0-A929-2766EC1E0D8E}" dt="2024-11-08T06:03:09.928" v="3319" actId="1076"/>
        <pc:sldMkLst>
          <pc:docMk/>
          <pc:sldMk cId="572650294" sldId="259"/>
        </pc:sldMkLst>
        <pc:spChg chg="add del">
          <ac:chgData name="S, Varatharaj Kannan (365)" userId="4059857b-a82a-4577-ac2c-643e9c05e9a3" providerId="ADAL" clId="{404832C4-EF9D-47E0-A929-2766EC1E0D8E}" dt="2024-11-07T05:17:49.457" v="136" actId="478"/>
          <ac:spMkLst>
            <pc:docMk/>
            <pc:sldMk cId="572650294" sldId="259"/>
            <ac:spMk id="3" creationId="{5A6E8CCA-E89B-A906-6A76-702A29C03D55}"/>
          </ac:spMkLst>
        </pc:spChg>
        <pc:spChg chg="add mod">
          <ac:chgData name="S, Varatharaj Kannan (365)" userId="4059857b-a82a-4577-ac2c-643e9c05e9a3" providerId="ADAL" clId="{404832C4-EF9D-47E0-A929-2766EC1E0D8E}" dt="2024-11-08T06:03:04.406" v="3317" actId="14100"/>
          <ac:spMkLst>
            <pc:docMk/>
            <pc:sldMk cId="572650294" sldId="259"/>
            <ac:spMk id="5" creationId="{709AA75A-D701-385D-2AC5-9BA80FDF88E8}"/>
          </ac:spMkLst>
        </pc:spChg>
        <pc:spChg chg="add mod">
          <ac:chgData name="S, Varatharaj Kannan (365)" userId="4059857b-a82a-4577-ac2c-643e9c05e9a3" providerId="ADAL" clId="{404832C4-EF9D-47E0-A929-2766EC1E0D8E}" dt="2024-11-08T05:58:02.437" v="2999" actId="20577"/>
          <ac:spMkLst>
            <pc:docMk/>
            <pc:sldMk cId="572650294" sldId="259"/>
            <ac:spMk id="6" creationId="{7F018BA2-E215-67CA-3DD0-322C066FF35F}"/>
          </ac:spMkLst>
        </pc:spChg>
        <pc:picChg chg="add mod">
          <ac:chgData name="S, Varatharaj Kannan (365)" userId="4059857b-a82a-4577-ac2c-643e9c05e9a3" providerId="ADAL" clId="{404832C4-EF9D-47E0-A929-2766EC1E0D8E}" dt="2024-11-08T06:02:27.280" v="3310" actId="1076"/>
          <ac:picMkLst>
            <pc:docMk/>
            <pc:sldMk cId="572650294" sldId="259"/>
            <ac:picMk id="1026" creationId="{BF6FDD01-F45B-2EA5-2392-BAE971BAA248}"/>
          </ac:picMkLst>
        </pc:picChg>
        <pc:picChg chg="add del mod">
          <ac:chgData name="S, Varatharaj Kannan (365)" userId="4059857b-a82a-4577-ac2c-643e9c05e9a3" providerId="ADAL" clId="{404832C4-EF9D-47E0-A929-2766EC1E0D8E}" dt="2024-11-07T05:23:40.129" v="239" actId="478"/>
          <ac:picMkLst>
            <pc:docMk/>
            <pc:sldMk cId="572650294" sldId="259"/>
            <ac:picMk id="1028" creationId="{96FADA19-9494-5E64-8F3B-159ADAC861C9}"/>
          </ac:picMkLst>
        </pc:picChg>
        <pc:picChg chg="add del mod">
          <ac:chgData name="S, Varatharaj Kannan (365)" userId="4059857b-a82a-4577-ac2c-643e9c05e9a3" providerId="ADAL" clId="{404832C4-EF9D-47E0-A929-2766EC1E0D8E}" dt="2024-11-07T05:24:37.370" v="251" actId="478"/>
          <ac:picMkLst>
            <pc:docMk/>
            <pc:sldMk cId="572650294" sldId="259"/>
            <ac:picMk id="1030" creationId="{C8F6D98D-5425-D1A7-2EBE-81EBC20F5D1D}"/>
          </ac:picMkLst>
        </pc:picChg>
        <pc:picChg chg="add mod">
          <ac:chgData name="S, Varatharaj Kannan (365)" userId="4059857b-a82a-4577-ac2c-643e9c05e9a3" providerId="ADAL" clId="{404832C4-EF9D-47E0-A929-2766EC1E0D8E}" dt="2024-11-08T06:02:31.823" v="3312" actId="1076"/>
          <ac:picMkLst>
            <pc:docMk/>
            <pc:sldMk cId="572650294" sldId="259"/>
            <ac:picMk id="1032" creationId="{8A1B7B87-A146-27FE-EE9D-A4FBCB50B20B}"/>
          </ac:picMkLst>
        </pc:picChg>
        <pc:picChg chg="add del mod">
          <ac:chgData name="S, Varatharaj Kannan (365)" userId="4059857b-a82a-4577-ac2c-643e9c05e9a3" providerId="ADAL" clId="{404832C4-EF9D-47E0-A929-2766EC1E0D8E}" dt="2024-11-07T05:25:37.360" v="264" actId="478"/>
          <ac:picMkLst>
            <pc:docMk/>
            <pc:sldMk cId="572650294" sldId="259"/>
            <ac:picMk id="1034" creationId="{94F7E323-9AFE-87F9-E3FD-AE4742B9C8A5}"/>
          </ac:picMkLst>
        </pc:picChg>
        <pc:picChg chg="add mod">
          <ac:chgData name="S, Varatharaj Kannan (365)" userId="4059857b-a82a-4577-ac2c-643e9c05e9a3" providerId="ADAL" clId="{404832C4-EF9D-47E0-A929-2766EC1E0D8E}" dt="2024-11-08T06:02:29.457" v="3311" actId="1076"/>
          <ac:picMkLst>
            <pc:docMk/>
            <pc:sldMk cId="572650294" sldId="259"/>
            <ac:picMk id="1036" creationId="{EB3E80FF-DD76-884F-86DA-31AE173CAABB}"/>
          </ac:picMkLst>
        </pc:picChg>
        <pc:picChg chg="add">
          <ac:chgData name="S, Varatharaj Kannan (365)" userId="4059857b-a82a-4577-ac2c-643e9c05e9a3" providerId="ADAL" clId="{404832C4-EF9D-47E0-A929-2766EC1E0D8E}" dt="2024-11-07T05:25:28.196" v="261"/>
          <ac:picMkLst>
            <pc:docMk/>
            <pc:sldMk cId="572650294" sldId="259"/>
            <ac:picMk id="1038" creationId="{3929430E-AE9A-BE0C-D629-49C2FC75BA5B}"/>
          </ac:picMkLst>
        </pc:picChg>
        <pc:picChg chg="add mod">
          <ac:chgData name="S, Varatharaj Kannan (365)" userId="4059857b-a82a-4577-ac2c-643e9c05e9a3" providerId="ADAL" clId="{404832C4-EF9D-47E0-A929-2766EC1E0D8E}" dt="2024-11-08T06:02:36.621" v="3314" actId="1076"/>
          <ac:picMkLst>
            <pc:docMk/>
            <pc:sldMk cId="572650294" sldId="259"/>
            <ac:picMk id="1040" creationId="{6C3FC972-92B8-9BB6-0FCC-178F2D7BBABC}"/>
          </ac:picMkLst>
        </pc:picChg>
        <pc:picChg chg="add mod">
          <ac:chgData name="S, Varatharaj Kannan (365)" userId="4059857b-a82a-4577-ac2c-643e9c05e9a3" providerId="ADAL" clId="{404832C4-EF9D-47E0-A929-2766EC1E0D8E}" dt="2024-11-08T06:02:34.399" v="3313" actId="1076"/>
          <ac:picMkLst>
            <pc:docMk/>
            <pc:sldMk cId="572650294" sldId="259"/>
            <ac:picMk id="1042" creationId="{FFA99A96-9A42-7439-FE18-8C44BB99D415}"/>
          </ac:picMkLst>
        </pc:picChg>
        <pc:picChg chg="add mod">
          <ac:chgData name="S, Varatharaj Kannan (365)" userId="4059857b-a82a-4577-ac2c-643e9c05e9a3" providerId="ADAL" clId="{404832C4-EF9D-47E0-A929-2766EC1E0D8E}" dt="2024-11-08T06:03:09.928" v="3319" actId="1076"/>
          <ac:picMkLst>
            <pc:docMk/>
            <pc:sldMk cId="572650294" sldId="259"/>
            <ac:picMk id="10242" creationId="{4C0A53B6-313B-4F80-1A54-4D5944A147CC}"/>
          </ac:picMkLst>
        </pc:picChg>
        <pc:cxnChg chg="add mod">
          <ac:chgData name="S, Varatharaj Kannan (365)" userId="4059857b-a82a-4577-ac2c-643e9c05e9a3" providerId="ADAL" clId="{404832C4-EF9D-47E0-A929-2766EC1E0D8E}" dt="2024-11-07T05:17:55.134" v="137"/>
          <ac:cxnSpMkLst>
            <pc:docMk/>
            <pc:sldMk cId="572650294" sldId="259"/>
            <ac:cxnSpMk id="7" creationId="{96FF09DA-DFED-8570-3D0C-4293FBE78D5A}"/>
          </ac:cxnSpMkLst>
        </pc:cxnChg>
      </pc:sldChg>
      <pc:sldChg chg="addSp delSp modSp del mod">
        <pc:chgData name="S, Varatharaj Kannan (365)" userId="4059857b-a82a-4577-ac2c-643e9c05e9a3" providerId="ADAL" clId="{404832C4-EF9D-47E0-A929-2766EC1E0D8E}" dt="2024-11-08T06:09:50.071" v="3504" actId="47"/>
        <pc:sldMkLst>
          <pc:docMk/>
          <pc:sldMk cId="1571021734" sldId="260"/>
        </pc:sldMkLst>
        <pc:spChg chg="add mod">
          <ac:chgData name="S, Varatharaj Kannan (365)" userId="4059857b-a82a-4577-ac2c-643e9c05e9a3" providerId="ADAL" clId="{404832C4-EF9D-47E0-A929-2766EC1E0D8E}" dt="2024-11-07T06:25:15.555" v="914" actId="20577"/>
          <ac:spMkLst>
            <pc:docMk/>
            <pc:sldMk cId="1571021734" sldId="260"/>
            <ac:spMk id="2" creationId="{829BAAD0-DEE6-5E09-449F-EBAAD5FBACF2}"/>
          </ac:spMkLst>
        </pc:spChg>
        <pc:spChg chg="add mod">
          <ac:chgData name="S, Varatharaj Kannan (365)" userId="4059857b-a82a-4577-ac2c-643e9c05e9a3" providerId="ADAL" clId="{404832C4-EF9D-47E0-A929-2766EC1E0D8E}" dt="2024-11-07T05:35:46.662" v="364" actId="14100"/>
          <ac:spMkLst>
            <pc:docMk/>
            <pc:sldMk cId="1571021734" sldId="260"/>
            <ac:spMk id="3" creationId="{287E3631-64FE-12F2-E2D4-40113BDEA703}"/>
          </ac:spMkLst>
        </pc:spChg>
        <pc:spChg chg="add">
          <ac:chgData name="S, Varatharaj Kannan (365)" userId="4059857b-a82a-4577-ac2c-643e9c05e9a3" providerId="ADAL" clId="{404832C4-EF9D-47E0-A929-2766EC1E0D8E}" dt="2024-11-07T05:36:44.053" v="379"/>
          <ac:spMkLst>
            <pc:docMk/>
            <pc:sldMk cId="1571021734" sldId="260"/>
            <ac:spMk id="6" creationId="{ED715BAB-BC59-BDA5-B4EF-D908DC711BC0}"/>
          </ac:spMkLst>
        </pc:spChg>
        <pc:picChg chg="add del mod">
          <ac:chgData name="S, Varatharaj Kannan (365)" userId="4059857b-a82a-4577-ac2c-643e9c05e9a3" providerId="ADAL" clId="{404832C4-EF9D-47E0-A929-2766EC1E0D8E}" dt="2024-11-07T05:39:15.596" v="399" actId="478"/>
          <ac:picMkLst>
            <pc:docMk/>
            <pc:sldMk cId="1571021734" sldId="260"/>
            <ac:picMk id="4099" creationId="{08DE83CB-2C67-1A51-D7A1-DB8C31246269}"/>
          </ac:picMkLst>
        </pc:picChg>
        <pc:picChg chg="add mod">
          <ac:chgData name="S, Varatharaj Kannan (365)" userId="4059857b-a82a-4577-ac2c-643e9c05e9a3" providerId="ADAL" clId="{404832C4-EF9D-47E0-A929-2766EC1E0D8E}" dt="2024-11-07T06:25:34.500" v="919" actId="1076"/>
          <ac:picMkLst>
            <pc:docMk/>
            <pc:sldMk cId="1571021734" sldId="260"/>
            <ac:picMk id="4101" creationId="{A3F20C7F-36F4-662F-03A0-90223FEC64B1}"/>
          </ac:picMkLst>
        </pc:picChg>
        <pc:picChg chg="add mod">
          <ac:chgData name="S, Varatharaj Kannan (365)" userId="4059857b-a82a-4577-ac2c-643e9c05e9a3" providerId="ADAL" clId="{404832C4-EF9D-47E0-A929-2766EC1E0D8E}" dt="2024-11-07T06:25:20.722" v="915" actId="1076"/>
          <ac:picMkLst>
            <pc:docMk/>
            <pc:sldMk cId="1571021734" sldId="260"/>
            <ac:picMk id="4103" creationId="{3720CDD2-B76F-998D-F453-6E1F3307DCA0}"/>
          </ac:picMkLst>
        </pc:picChg>
        <pc:picChg chg="add mod">
          <ac:chgData name="S, Varatharaj Kannan (365)" userId="4059857b-a82a-4577-ac2c-643e9c05e9a3" providerId="ADAL" clId="{404832C4-EF9D-47E0-A929-2766EC1E0D8E}" dt="2024-11-07T06:25:30.857" v="918" actId="14100"/>
          <ac:picMkLst>
            <pc:docMk/>
            <pc:sldMk cId="1571021734" sldId="260"/>
            <ac:picMk id="4105" creationId="{6FA34E8D-9928-F9B7-1CC1-17CBECC59F12}"/>
          </ac:picMkLst>
        </pc:picChg>
        <pc:picChg chg="add mod">
          <ac:chgData name="S, Varatharaj Kannan (365)" userId="4059857b-a82a-4577-ac2c-643e9c05e9a3" providerId="ADAL" clId="{404832C4-EF9D-47E0-A929-2766EC1E0D8E}" dt="2024-11-07T06:25:20.722" v="915" actId="1076"/>
          <ac:picMkLst>
            <pc:docMk/>
            <pc:sldMk cId="1571021734" sldId="260"/>
            <ac:picMk id="4107" creationId="{0A26A785-4E98-D5A7-A16A-03BA37045CB8}"/>
          </ac:picMkLst>
        </pc:picChg>
        <pc:picChg chg="add del mod">
          <ac:chgData name="S, Varatharaj Kannan (365)" userId="4059857b-a82a-4577-ac2c-643e9c05e9a3" providerId="ADAL" clId="{404832C4-EF9D-47E0-A929-2766EC1E0D8E}" dt="2024-11-07T05:40:41.986" v="416" actId="478"/>
          <ac:picMkLst>
            <pc:docMk/>
            <pc:sldMk cId="1571021734" sldId="260"/>
            <ac:picMk id="4109" creationId="{154C3E60-57E5-7FF7-868D-D981AACF38A7}"/>
          </ac:picMkLst>
        </pc:picChg>
        <pc:picChg chg="add mod">
          <ac:chgData name="S, Varatharaj Kannan (365)" userId="4059857b-a82a-4577-ac2c-643e9c05e9a3" providerId="ADAL" clId="{404832C4-EF9D-47E0-A929-2766EC1E0D8E}" dt="2024-11-07T06:25:27.384" v="917" actId="14100"/>
          <ac:picMkLst>
            <pc:docMk/>
            <pc:sldMk cId="1571021734" sldId="260"/>
            <ac:picMk id="4111" creationId="{0D403A42-0F94-1C5E-5235-0F508E6B73BF}"/>
          </ac:picMkLst>
        </pc:picChg>
        <pc:cxnChg chg="add mod">
          <ac:chgData name="S, Varatharaj Kannan (365)" userId="4059857b-a82a-4577-ac2c-643e9c05e9a3" providerId="ADAL" clId="{404832C4-EF9D-47E0-A929-2766EC1E0D8E}" dt="2024-11-07T05:35:34.132" v="360"/>
          <ac:cxnSpMkLst>
            <pc:docMk/>
            <pc:sldMk cId="1571021734" sldId="260"/>
            <ac:cxnSpMk id="5" creationId="{C1A9EC07-3386-B404-5235-CC2CED8B3B86}"/>
          </ac:cxnSpMkLst>
        </pc:cxnChg>
      </pc:sldChg>
      <pc:sldChg chg="addSp modSp add del mod">
        <pc:chgData name="S, Varatharaj Kannan (365)" userId="4059857b-a82a-4577-ac2c-643e9c05e9a3" providerId="ADAL" clId="{404832C4-EF9D-47E0-A929-2766EC1E0D8E}" dt="2024-11-08T06:05:52.343" v="3403" actId="47"/>
        <pc:sldMkLst>
          <pc:docMk/>
          <pc:sldMk cId="1598438440" sldId="261"/>
        </pc:sldMkLst>
        <pc:spChg chg="mod">
          <ac:chgData name="S, Varatharaj Kannan (365)" userId="4059857b-a82a-4577-ac2c-643e9c05e9a3" providerId="ADAL" clId="{404832C4-EF9D-47E0-A929-2766EC1E0D8E}" dt="2024-11-07T06:25:38.046" v="920" actId="20577"/>
          <ac:spMkLst>
            <pc:docMk/>
            <pc:sldMk cId="1598438440" sldId="261"/>
            <ac:spMk id="5" creationId="{709AA75A-D701-385D-2AC5-9BA80FDF88E8}"/>
          </ac:spMkLst>
        </pc:spChg>
        <pc:spChg chg="mod">
          <ac:chgData name="S, Varatharaj Kannan (365)" userId="4059857b-a82a-4577-ac2c-643e9c05e9a3" providerId="ADAL" clId="{404832C4-EF9D-47E0-A929-2766EC1E0D8E}" dt="2024-11-07T06:13:06.451" v="671" actId="20577"/>
          <ac:spMkLst>
            <pc:docMk/>
            <pc:sldMk cId="1598438440" sldId="261"/>
            <ac:spMk id="6" creationId="{7F018BA2-E215-67CA-3DD0-322C066FF35F}"/>
          </ac:spMkLst>
        </pc:spChg>
        <pc:picChg chg="add mod">
          <ac:chgData name="S, Varatharaj Kannan (365)" userId="4059857b-a82a-4577-ac2c-643e9c05e9a3" providerId="ADAL" clId="{404832C4-EF9D-47E0-A929-2766EC1E0D8E}" dt="2024-11-07T06:22:44.956" v="871" actId="1076"/>
          <ac:picMkLst>
            <pc:docMk/>
            <pc:sldMk cId="1598438440" sldId="261"/>
            <ac:picMk id="3074" creationId="{E263E0A0-9001-65BD-FFB9-2AF8762C681B}"/>
          </ac:picMkLst>
        </pc:picChg>
        <pc:picChg chg="add mod">
          <ac:chgData name="S, Varatharaj Kannan (365)" userId="4059857b-a82a-4577-ac2c-643e9c05e9a3" providerId="ADAL" clId="{404832C4-EF9D-47E0-A929-2766EC1E0D8E}" dt="2024-11-07T06:22:46.233" v="872" actId="1076"/>
          <ac:picMkLst>
            <pc:docMk/>
            <pc:sldMk cId="1598438440" sldId="261"/>
            <ac:picMk id="3076" creationId="{D48C6556-6465-A57F-27FA-008DC32937F4}"/>
          </ac:picMkLst>
        </pc:picChg>
        <pc:picChg chg="add mod">
          <ac:chgData name="S, Varatharaj Kannan (365)" userId="4059857b-a82a-4577-ac2c-643e9c05e9a3" providerId="ADAL" clId="{404832C4-EF9D-47E0-A929-2766EC1E0D8E}" dt="2024-11-07T06:22:48.415" v="873" actId="1076"/>
          <ac:picMkLst>
            <pc:docMk/>
            <pc:sldMk cId="1598438440" sldId="261"/>
            <ac:picMk id="3078" creationId="{AC8CFA45-47C4-14E1-155A-1F2865050A72}"/>
          </ac:picMkLst>
        </pc:picChg>
      </pc:sldChg>
      <pc:sldChg chg="addSp modSp add del mod">
        <pc:chgData name="S, Varatharaj Kannan (365)" userId="4059857b-a82a-4577-ac2c-643e9c05e9a3" providerId="ADAL" clId="{404832C4-EF9D-47E0-A929-2766EC1E0D8E}" dt="2024-11-08T06:10:31.616" v="3513" actId="47"/>
        <pc:sldMkLst>
          <pc:docMk/>
          <pc:sldMk cId="3991729618" sldId="262"/>
        </pc:sldMkLst>
        <pc:spChg chg="add mod">
          <ac:chgData name="S, Varatharaj Kannan (365)" userId="4059857b-a82a-4577-ac2c-643e9c05e9a3" providerId="ADAL" clId="{404832C4-EF9D-47E0-A929-2766EC1E0D8E}" dt="2024-11-07T06:25:00.318" v="906" actId="20577"/>
          <ac:spMkLst>
            <pc:docMk/>
            <pc:sldMk cId="3991729618" sldId="262"/>
            <ac:spMk id="2" creationId="{1D6C2562-440C-A30F-98B0-6CFACA8B0BF2}"/>
          </ac:spMkLst>
        </pc:spChg>
        <pc:spChg chg="add mod">
          <ac:chgData name="S, Varatharaj Kannan (365)" userId="4059857b-a82a-4577-ac2c-643e9c05e9a3" providerId="ADAL" clId="{404832C4-EF9D-47E0-A929-2766EC1E0D8E}" dt="2024-11-07T05:47:59.665" v="493" actId="20577"/>
          <ac:spMkLst>
            <pc:docMk/>
            <pc:sldMk cId="3991729618" sldId="262"/>
            <ac:spMk id="3" creationId="{E40BD001-CB96-37EF-2771-9EF09C992851}"/>
          </ac:spMkLst>
        </pc:spChg>
        <pc:spChg chg="add">
          <ac:chgData name="S, Varatharaj Kannan (365)" userId="4059857b-a82a-4577-ac2c-643e9c05e9a3" providerId="ADAL" clId="{404832C4-EF9D-47E0-A929-2766EC1E0D8E}" dt="2024-11-07T05:44:28.047" v="459"/>
          <ac:spMkLst>
            <pc:docMk/>
            <pc:sldMk cId="3991729618" sldId="262"/>
            <ac:spMk id="6" creationId="{ED322A70-3759-ED2B-606C-DD5B6AEC04F9}"/>
          </ac:spMkLst>
        </pc:spChg>
        <pc:spChg chg="add">
          <ac:chgData name="S, Varatharaj Kannan (365)" userId="4059857b-a82a-4577-ac2c-643e9c05e9a3" providerId="ADAL" clId="{404832C4-EF9D-47E0-A929-2766EC1E0D8E}" dt="2024-11-07T05:44:31.502" v="460"/>
          <ac:spMkLst>
            <pc:docMk/>
            <pc:sldMk cId="3991729618" sldId="262"/>
            <ac:spMk id="7" creationId="{55139810-4336-EA29-8315-1A91736C12B1}"/>
          </ac:spMkLst>
        </pc:spChg>
        <pc:spChg chg="add">
          <ac:chgData name="S, Varatharaj Kannan (365)" userId="4059857b-a82a-4577-ac2c-643e9c05e9a3" providerId="ADAL" clId="{404832C4-EF9D-47E0-A929-2766EC1E0D8E}" dt="2024-11-07T05:44:53.919" v="463"/>
          <ac:spMkLst>
            <pc:docMk/>
            <pc:sldMk cId="3991729618" sldId="262"/>
            <ac:spMk id="8" creationId="{A1C8208A-A8A0-F636-743F-7FA330C4F30B}"/>
          </ac:spMkLst>
        </pc:spChg>
        <pc:picChg chg="add mod">
          <ac:chgData name="S, Varatharaj Kannan (365)" userId="4059857b-a82a-4577-ac2c-643e9c05e9a3" providerId="ADAL" clId="{404832C4-EF9D-47E0-A929-2766EC1E0D8E}" dt="2024-11-07T06:25:09.026" v="911" actId="1076"/>
          <ac:picMkLst>
            <pc:docMk/>
            <pc:sldMk cId="3991729618" sldId="262"/>
            <ac:picMk id="6149" creationId="{8D679872-97BD-2153-BB46-5CEEB99BB474}"/>
          </ac:picMkLst>
        </pc:picChg>
        <pc:picChg chg="add mod">
          <ac:chgData name="S, Varatharaj Kannan (365)" userId="4059857b-a82a-4577-ac2c-643e9c05e9a3" providerId="ADAL" clId="{404832C4-EF9D-47E0-A929-2766EC1E0D8E}" dt="2024-11-07T06:25:02.189" v="907" actId="1076"/>
          <ac:picMkLst>
            <pc:docMk/>
            <pc:sldMk cId="3991729618" sldId="262"/>
            <ac:picMk id="6151" creationId="{8A396AC9-9574-3040-B3E2-BDFCE851DE01}"/>
          </ac:picMkLst>
        </pc:picChg>
        <pc:picChg chg="add mod">
          <ac:chgData name="S, Varatharaj Kannan (365)" userId="4059857b-a82a-4577-ac2c-643e9c05e9a3" providerId="ADAL" clId="{404832C4-EF9D-47E0-A929-2766EC1E0D8E}" dt="2024-11-07T06:25:05.332" v="909" actId="1076"/>
          <ac:picMkLst>
            <pc:docMk/>
            <pc:sldMk cId="3991729618" sldId="262"/>
            <ac:picMk id="6153" creationId="{AA9E15F1-4366-4E27-A0E7-3A0B3DEA16ED}"/>
          </ac:picMkLst>
        </pc:picChg>
        <pc:picChg chg="add mod">
          <ac:chgData name="S, Varatharaj Kannan (365)" userId="4059857b-a82a-4577-ac2c-643e9c05e9a3" providerId="ADAL" clId="{404832C4-EF9D-47E0-A929-2766EC1E0D8E}" dt="2024-11-07T06:25:03.773" v="908" actId="1076"/>
          <ac:picMkLst>
            <pc:docMk/>
            <pc:sldMk cId="3991729618" sldId="262"/>
            <ac:picMk id="6155" creationId="{936C1C31-3623-36DC-6619-29BC4D904ACD}"/>
          </ac:picMkLst>
        </pc:picChg>
        <pc:picChg chg="add mod">
          <ac:chgData name="S, Varatharaj Kannan (365)" userId="4059857b-a82a-4577-ac2c-643e9c05e9a3" providerId="ADAL" clId="{404832C4-EF9D-47E0-A929-2766EC1E0D8E}" dt="2024-11-07T06:25:07.319" v="910" actId="1076"/>
          <ac:picMkLst>
            <pc:docMk/>
            <pc:sldMk cId="3991729618" sldId="262"/>
            <ac:picMk id="6157" creationId="{9FFD88CC-80A9-DDAD-DFB9-D97107E69010}"/>
          </ac:picMkLst>
        </pc:picChg>
        <pc:cxnChg chg="add mod">
          <ac:chgData name="S, Varatharaj Kannan (365)" userId="4059857b-a82a-4577-ac2c-643e9c05e9a3" providerId="ADAL" clId="{404832C4-EF9D-47E0-A929-2766EC1E0D8E}" dt="2024-11-07T05:43:53.899" v="450"/>
          <ac:cxnSpMkLst>
            <pc:docMk/>
            <pc:sldMk cId="3991729618" sldId="262"/>
            <ac:cxnSpMk id="5" creationId="{D405B65A-7EEB-294B-9BB9-FDA028F1ADC8}"/>
          </ac:cxnSpMkLst>
        </pc:cxnChg>
      </pc:sldChg>
      <pc:sldChg chg="addSp delSp modSp add del mod">
        <pc:chgData name="S, Varatharaj Kannan (365)" userId="4059857b-a82a-4577-ac2c-643e9c05e9a3" providerId="ADAL" clId="{404832C4-EF9D-47E0-A929-2766EC1E0D8E}" dt="2024-11-08T06:11:08.557" v="3519" actId="47"/>
        <pc:sldMkLst>
          <pc:docMk/>
          <pc:sldMk cId="2916289085" sldId="263"/>
        </pc:sldMkLst>
        <pc:spChg chg="add mod">
          <ac:chgData name="S, Varatharaj Kannan (365)" userId="4059857b-a82a-4577-ac2c-643e9c05e9a3" providerId="ADAL" clId="{404832C4-EF9D-47E0-A929-2766EC1E0D8E}" dt="2024-11-07T06:24:44.368" v="899" actId="20577"/>
          <ac:spMkLst>
            <pc:docMk/>
            <pc:sldMk cId="2916289085" sldId="263"/>
            <ac:spMk id="2" creationId="{24F44142-7BC3-D272-759A-3214A2BB1E13}"/>
          </ac:spMkLst>
        </pc:spChg>
        <pc:spChg chg="add mod">
          <ac:chgData name="S, Varatharaj Kannan (365)" userId="4059857b-a82a-4577-ac2c-643e9c05e9a3" providerId="ADAL" clId="{404832C4-EF9D-47E0-A929-2766EC1E0D8E}" dt="2024-11-07T05:55:08.874" v="522"/>
          <ac:spMkLst>
            <pc:docMk/>
            <pc:sldMk cId="2916289085" sldId="263"/>
            <ac:spMk id="3" creationId="{4FCAC7CF-E5BB-030F-814E-0175E5E55C1D}"/>
          </ac:spMkLst>
        </pc:spChg>
        <pc:picChg chg="add del mod">
          <ac:chgData name="S, Varatharaj Kannan (365)" userId="4059857b-a82a-4577-ac2c-643e9c05e9a3" providerId="ADAL" clId="{404832C4-EF9D-47E0-A929-2766EC1E0D8E}" dt="2024-11-07T06:01:42.754" v="550" actId="478"/>
          <ac:picMkLst>
            <pc:docMk/>
            <pc:sldMk cId="2916289085" sldId="263"/>
            <ac:picMk id="7170" creationId="{197B84E4-3605-F698-091E-5627348B84B9}"/>
          </ac:picMkLst>
        </pc:picChg>
        <pc:picChg chg="add del mod">
          <ac:chgData name="S, Varatharaj Kannan (365)" userId="4059857b-a82a-4577-ac2c-643e9c05e9a3" providerId="ADAL" clId="{404832C4-EF9D-47E0-A929-2766EC1E0D8E}" dt="2024-11-07T06:00:57.467" v="543" actId="478"/>
          <ac:picMkLst>
            <pc:docMk/>
            <pc:sldMk cId="2916289085" sldId="263"/>
            <ac:picMk id="7172" creationId="{E2F70B15-3759-704D-6360-4EF063001291}"/>
          </ac:picMkLst>
        </pc:picChg>
        <pc:picChg chg="add mod">
          <ac:chgData name="S, Varatharaj Kannan (365)" userId="4059857b-a82a-4577-ac2c-643e9c05e9a3" providerId="ADAL" clId="{404832C4-EF9D-47E0-A929-2766EC1E0D8E}" dt="2024-11-07T06:03:50.575" v="568" actId="1076"/>
          <ac:picMkLst>
            <pc:docMk/>
            <pc:sldMk cId="2916289085" sldId="263"/>
            <ac:picMk id="7174" creationId="{49A1BA6A-C25A-9F45-FD79-5E5DFDE4208C}"/>
          </ac:picMkLst>
        </pc:picChg>
        <pc:picChg chg="add mod">
          <ac:chgData name="S, Varatharaj Kannan (365)" userId="4059857b-a82a-4577-ac2c-643e9c05e9a3" providerId="ADAL" clId="{404832C4-EF9D-47E0-A929-2766EC1E0D8E}" dt="2024-11-07T06:24:46.490" v="900" actId="1076"/>
          <ac:picMkLst>
            <pc:docMk/>
            <pc:sldMk cId="2916289085" sldId="263"/>
            <ac:picMk id="7176" creationId="{86899577-E105-C759-E8F0-FD20961BB8CB}"/>
          </ac:picMkLst>
        </pc:picChg>
        <pc:picChg chg="add mod">
          <ac:chgData name="S, Varatharaj Kannan (365)" userId="4059857b-a82a-4577-ac2c-643e9c05e9a3" providerId="ADAL" clId="{404832C4-EF9D-47E0-A929-2766EC1E0D8E}" dt="2024-11-07T06:24:51.369" v="902" actId="1076"/>
          <ac:picMkLst>
            <pc:docMk/>
            <pc:sldMk cId="2916289085" sldId="263"/>
            <ac:picMk id="7178" creationId="{7AEC7CBE-6576-0080-CF2D-250433B192E3}"/>
          </ac:picMkLst>
        </pc:picChg>
        <pc:picChg chg="add mod">
          <ac:chgData name="S, Varatharaj Kannan (365)" userId="4059857b-a82a-4577-ac2c-643e9c05e9a3" providerId="ADAL" clId="{404832C4-EF9D-47E0-A929-2766EC1E0D8E}" dt="2024-11-07T06:24:53.327" v="903" actId="1076"/>
          <ac:picMkLst>
            <pc:docMk/>
            <pc:sldMk cId="2916289085" sldId="263"/>
            <ac:picMk id="7180" creationId="{15904F44-2E92-A0FF-F98B-1AEDAC678589}"/>
          </ac:picMkLst>
        </pc:picChg>
        <pc:picChg chg="add del mod">
          <ac:chgData name="S, Varatharaj Kannan (365)" userId="4059857b-a82a-4577-ac2c-643e9c05e9a3" providerId="ADAL" clId="{404832C4-EF9D-47E0-A929-2766EC1E0D8E}" dt="2024-11-07T06:05:21.775" v="574" actId="478"/>
          <ac:picMkLst>
            <pc:docMk/>
            <pc:sldMk cId="2916289085" sldId="263"/>
            <ac:picMk id="7182" creationId="{6F655775-25E1-4DFD-978F-94DE8E08DA9E}"/>
          </ac:picMkLst>
        </pc:picChg>
        <pc:picChg chg="add mod">
          <ac:chgData name="S, Varatharaj Kannan (365)" userId="4059857b-a82a-4577-ac2c-643e9c05e9a3" providerId="ADAL" clId="{404832C4-EF9D-47E0-A929-2766EC1E0D8E}" dt="2024-11-07T06:24:49.402" v="901" actId="1076"/>
          <ac:picMkLst>
            <pc:docMk/>
            <pc:sldMk cId="2916289085" sldId="263"/>
            <ac:picMk id="7184" creationId="{C8C3AD24-865A-05CA-74CC-10A48A7F48C8}"/>
          </ac:picMkLst>
        </pc:picChg>
        <pc:cxnChg chg="add mod">
          <ac:chgData name="S, Varatharaj Kannan (365)" userId="4059857b-a82a-4577-ac2c-643e9c05e9a3" providerId="ADAL" clId="{404832C4-EF9D-47E0-A929-2766EC1E0D8E}" dt="2024-11-07T05:54:59.426" v="521"/>
          <ac:cxnSpMkLst>
            <pc:docMk/>
            <pc:sldMk cId="2916289085" sldId="263"/>
            <ac:cxnSpMk id="5" creationId="{A9251F09-B03A-8194-D683-954A471CF998}"/>
          </ac:cxnSpMkLst>
        </pc:cxnChg>
      </pc:sldChg>
      <pc:sldChg chg="addSp modSp add del mod">
        <pc:chgData name="S, Varatharaj Kannan (365)" userId="4059857b-a82a-4577-ac2c-643e9c05e9a3" providerId="ADAL" clId="{404832C4-EF9D-47E0-A929-2766EC1E0D8E}" dt="2024-11-08T06:11:46.493" v="3528" actId="47"/>
        <pc:sldMkLst>
          <pc:docMk/>
          <pc:sldMk cId="249736361" sldId="264"/>
        </pc:sldMkLst>
        <pc:spChg chg="add mod">
          <ac:chgData name="S, Varatharaj Kannan (365)" userId="4059857b-a82a-4577-ac2c-643e9c05e9a3" providerId="ADAL" clId="{404832C4-EF9D-47E0-A929-2766EC1E0D8E}" dt="2024-11-07T06:24:24.310" v="890" actId="20577"/>
          <ac:spMkLst>
            <pc:docMk/>
            <pc:sldMk cId="249736361" sldId="264"/>
            <ac:spMk id="2" creationId="{3A2A76D0-7503-3BAB-E1CE-6023F6897E70}"/>
          </ac:spMkLst>
        </pc:spChg>
        <pc:spChg chg="add mod">
          <ac:chgData name="S, Varatharaj Kannan (365)" userId="4059857b-a82a-4577-ac2c-643e9c05e9a3" providerId="ADAL" clId="{404832C4-EF9D-47E0-A929-2766EC1E0D8E}" dt="2024-11-07T06:03:24.234" v="563" actId="255"/>
          <ac:spMkLst>
            <pc:docMk/>
            <pc:sldMk cId="249736361" sldId="264"/>
            <ac:spMk id="3" creationId="{174D711D-2CB6-0F9D-C398-7771EC712008}"/>
          </ac:spMkLst>
        </pc:spChg>
        <pc:picChg chg="add mod">
          <ac:chgData name="S, Varatharaj Kannan (365)" userId="4059857b-a82a-4577-ac2c-643e9c05e9a3" providerId="ADAL" clId="{404832C4-EF9D-47E0-A929-2766EC1E0D8E}" dt="2024-11-07T06:24:27.405" v="891" actId="1076"/>
          <ac:picMkLst>
            <pc:docMk/>
            <pc:sldMk cId="249736361" sldId="264"/>
            <ac:picMk id="8194" creationId="{3EBA82C5-F6BB-D57A-02E1-34954B054C83}"/>
          </ac:picMkLst>
        </pc:picChg>
        <pc:picChg chg="add mod">
          <ac:chgData name="S, Varatharaj Kannan (365)" userId="4059857b-a82a-4577-ac2c-643e9c05e9a3" providerId="ADAL" clId="{404832C4-EF9D-47E0-A929-2766EC1E0D8E}" dt="2024-11-07T06:24:28.824" v="892" actId="1076"/>
          <ac:picMkLst>
            <pc:docMk/>
            <pc:sldMk cId="249736361" sldId="264"/>
            <ac:picMk id="8196" creationId="{2DE46549-B3A4-95D6-552A-90E0B0A8EEC2}"/>
          </ac:picMkLst>
        </pc:picChg>
        <pc:picChg chg="add mod">
          <ac:chgData name="S, Varatharaj Kannan (365)" userId="4059857b-a82a-4577-ac2c-643e9c05e9a3" providerId="ADAL" clId="{404832C4-EF9D-47E0-A929-2766EC1E0D8E}" dt="2024-11-07T06:24:30.198" v="893" actId="1076"/>
          <ac:picMkLst>
            <pc:docMk/>
            <pc:sldMk cId="249736361" sldId="264"/>
            <ac:picMk id="8198" creationId="{2745598B-6CD9-C376-7640-82303E789C39}"/>
          </ac:picMkLst>
        </pc:picChg>
        <pc:picChg chg="add mod">
          <ac:chgData name="S, Varatharaj Kannan (365)" userId="4059857b-a82a-4577-ac2c-643e9c05e9a3" providerId="ADAL" clId="{404832C4-EF9D-47E0-A929-2766EC1E0D8E}" dt="2024-11-07T06:24:35.298" v="896" actId="1076"/>
          <ac:picMkLst>
            <pc:docMk/>
            <pc:sldMk cId="249736361" sldId="264"/>
            <ac:picMk id="8200" creationId="{FEEB88AE-F0B4-4CE9-D92B-85F9C660A7A2}"/>
          </ac:picMkLst>
        </pc:picChg>
        <pc:picChg chg="add mod">
          <ac:chgData name="S, Varatharaj Kannan (365)" userId="4059857b-a82a-4577-ac2c-643e9c05e9a3" providerId="ADAL" clId="{404832C4-EF9D-47E0-A929-2766EC1E0D8E}" dt="2024-11-07T06:24:32.516" v="894" actId="1076"/>
          <ac:picMkLst>
            <pc:docMk/>
            <pc:sldMk cId="249736361" sldId="264"/>
            <ac:picMk id="8202" creationId="{B8D10759-851A-20D0-25A8-09D2CDC857E3}"/>
          </ac:picMkLst>
        </pc:picChg>
        <pc:cxnChg chg="add mod">
          <ac:chgData name="S, Varatharaj Kannan (365)" userId="4059857b-a82a-4577-ac2c-643e9c05e9a3" providerId="ADAL" clId="{404832C4-EF9D-47E0-A929-2766EC1E0D8E}" dt="2024-11-07T06:03:06.611" v="560"/>
          <ac:cxnSpMkLst>
            <pc:docMk/>
            <pc:sldMk cId="249736361" sldId="264"/>
            <ac:cxnSpMk id="5" creationId="{61DF004B-BE80-E22F-2202-93650EF1DF72}"/>
          </ac:cxnSpMkLst>
        </pc:cxnChg>
      </pc:sldChg>
      <pc:sldChg chg="addSp delSp modSp new del mod">
        <pc:chgData name="S, Varatharaj Kannan (365)" userId="4059857b-a82a-4577-ac2c-643e9c05e9a3" providerId="ADAL" clId="{404832C4-EF9D-47E0-A929-2766EC1E0D8E}" dt="2024-11-08T06:12:17.541" v="3537" actId="47"/>
        <pc:sldMkLst>
          <pc:docMk/>
          <pc:sldMk cId="3530267281" sldId="265"/>
        </pc:sldMkLst>
        <pc:spChg chg="del mod">
          <ac:chgData name="S, Varatharaj Kannan (365)" userId="4059857b-a82a-4577-ac2c-643e9c05e9a3" providerId="ADAL" clId="{404832C4-EF9D-47E0-A929-2766EC1E0D8E}" dt="2024-11-07T06:09:33.848" v="616" actId="478"/>
          <ac:spMkLst>
            <pc:docMk/>
            <pc:sldMk cId="3530267281" sldId="265"/>
            <ac:spMk id="2" creationId="{468C9E49-D210-F15B-EF1C-9384CEA13CF1}"/>
          </ac:spMkLst>
        </pc:spChg>
        <pc:spChg chg="del">
          <ac:chgData name="S, Varatharaj Kannan (365)" userId="4059857b-a82a-4577-ac2c-643e9c05e9a3" providerId="ADAL" clId="{404832C4-EF9D-47E0-A929-2766EC1E0D8E}" dt="2024-11-07T06:09:36.213" v="619" actId="478"/>
          <ac:spMkLst>
            <pc:docMk/>
            <pc:sldMk cId="3530267281" sldId="265"/>
            <ac:spMk id="3" creationId="{870D7550-B230-22E0-ADBE-3EAA1572C43D}"/>
          </ac:spMkLst>
        </pc:spChg>
        <pc:spChg chg="add mod">
          <ac:chgData name="S, Varatharaj Kannan (365)" userId="4059857b-a82a-4577-ac2c-643e9c05e9a3" providerId="ADAL" clId="{404832C4-EF9D-47E0-A929-2766EC1E0D8E}" dt="2024-11-07T06:10:36.508" v="650"/>
          <ac:spMkLst>
            <pc:docMk/>
            <pc:sldMk cId="3530267281" sldId="265"/>
            <ac:spMk id="5" creationId="{7FD5FDCF-F580-5400-0315-485C0851E988}"/>
          </ac:spMkLst>
        </pc:spChg>
        <pc:spChg chg="add mod">
          <ac:chgData name="S, Varatharaj Kannan (365)" userId="4059857b-a82a-4577-ac2c-643e9c05e9a3" providerId="ADAL" clId="{404832C4-EF9D-47E0-A929-2766EC1E0D8E}" dt="2024-11-07T06:10:00.470" v="639" actId="6549"/>
          <ac:spMkLst>
            <pc:docMk/>
            <pc:sldMk cId="3530267281" sldId="265"/>
            <ac:spMk id="6" creationId="{41254B44-2283-6425-0ED3-42A4F76D3E2F}"/>
          </ac:spMkLst>
        </pc:spChg>
        <pc:graphicFrameChg chg="add mod ord modVis">
          <ac:chgData name="S, Varatharaj Kannan (365)" userId="4059857b-a82a-4577-ac2c-643e9c05e9a3" providerId="ADAL" clId="{404832C4-EF9D-47E0-A929-2766EC1E0D8E}" dt="2024-11-07T06:09:34.355" v="618"/>
          <ac:graphicFrameMkLst>
            <pc:docMk/>
            <pc:sldMk cId="3530267281" sldId="265"/>
            <ac:graphicFrameMk id="4" creationId="{EC2FAD38-0C96-41D3-C1D5-5CAC80FB402A}"/>
          </ac:graphicFrameMkLst>
        </pc:graphicFrameChg>
        <pc:picChg chg="add mod">
          <ac:chgData name="S, Varatharaj Kannan (365)" userId="4059857b-a82a-4577-ac2c-643e9c05e9a3" providerId="ADAL" clId="{404832C4-EF9D-47E0-A929-2766EC1E0D8E}" dt="2024-11-07T06:11:05.528" v="655" actId="1076"/>
          <ac:picMkLst>
            <pc:docMk/>
            <pc:sldMk cId="3530267281" sldId="265"/>
            <ac:picMk id="9218" creationId="{A3B9F811-9D74-AFBF-4C41-0254407D6E06}"/>
          </ac:picMkLst>
        </pc:picChg>
        <pc:picChg chg="add mod">
          <ac:chgData name="S, Varatharaj Kannan (365)" userId="4059857b-a82a-4577-ac2c-643e9c05e9a3" providerId="ADAL" clId="{404832C4-EF9D-47E0-A929-2766EC1E0D8E}" dt="2024-11-07T06:11:25.796" v="658" actId="1076"/>
          <ac:picMkLst>
            <pc:docMk/>
            <pc:sldMk cId="3530267281" sldId="265"/>
            <ac:picMk id="9220" creationId="{098CA4EA-2166-D0A6-E3D2-B2D56642D5F9}"/>
          </ac:picMkLst>
        </pc:picChg>
        <pc:picChg chg="add mod">
          <ac:chgData name="S, Varatharaj Kannan (365)" userId="4059857b-a82a-4577-ac2c-643e9c05e9a3" providerId="ADAL" clId="{404832C4-EF9D-47E0-A929-2766EC1E0D8E}" dt="2024-11-07T06:11:51.379" v="663" actId="1076"/>
          <ac:picMkLst>
            <pc:docMk/>
            <pc:sldMk cId="3530267281" sldId="265"/>
            <ac:picMk id="9222" creationId="{AA37641E-8B12-7401-EFA7-DD6CC6E5DA5B}"/>
          </ac:picMkLst>
        </pc:picChg>
        <pc:picChg chg="add mod">
          <ac:chgData name="S, Varatharaj Kannan (365)" userId="4059857b-a82a-4577-ac2c-643e9c05e9a3" providerId="ADAL" clId="{404832C4-EF9D-47E0-A929-2766EC1E0D8E}" dt="2024-11-07T06:12:14.682" v="666" actId="1076"/>
          <ac:picMkLst>
            <pc:docMk/>
            <pc:sldMk cId="3530267281" sldId="265"/>
            <ac:picMk id="9224" creationId="{26EBDD76-B874-9957-48C8-68E266C56F76}"/>
          </ac:picMkLst>
        </pc:picChg>
        <pc:picChg chg="add mod">
          <ac:chgData name="S, Varatharaj Kannan (365)" userId="4059857b-a82a-4577-ac2c-643e9c05e9a3" providerId="ADAL" clId="{404832C4-EF9D-47E0-A929-2766EC1E0D8E}" dt="2024-11-07T06:12:26.797" v="669" actId="1076"/>
          <ac:picMkLst>
            <pc:docMk/>
            <pc:sldMk cId="3530267281" sldId="265"/>
            <ac:picMk id="9226" creationId="{6FF6D32C-3B49-D045-B813-9505807759C0}"/>
          </ac:picMkLst>
        </pc:picChg>
        <pc:cxnChg chg="add mod">
          <ac:chgData name="S, Varatharaj Kannan (365)" userId="4059857b-a82a-4577-ac2c-643e9c05e9a3" providerId="ADAL" clId="{404832C4-EF9D-47E0-A929-2766EC1E0D8E}" dt="2024-11-07T06:09:36.643" v="620"/>
          <ac:cxnSpMkLst>
            <pc:docMk/>
            <pc:sldMk cId="3530267281" sldId="265"/>
            <ac:cxnSpMk id="7" creationId="{A19239D8-BEEA-3B35-A1EC-A973B23A0EFD}"/>
          </ac:cxnSpMkLst>
        </pc:cxnChg>
      </pc:sldChg>
      <pc:sldChg chg="addSp delSp modSp new mod">
        <pc:chgData name="S, Varatharaj Kannan (365)" userId="4059857b-a82a-4577-ac2c-643e9c05e9a3" providerId="ADAL" clId="{404832C4-EF9D-47E0-A929-2766EC1E0D8E}" dt="2024-11-07T06:18:24.786" v="775" actId="1076"/>
        <pc:sldMkLst>
          <pc:docMk/>
          <pc:sldMk cId="751318410" sldId="266"/>
        </pc:sldMkLst>
        <pc:spChg chg="del">
          <ac:chgData name="S, Varatharaj Kannan (365)" userId="4059857b-a82a-4577-ac2c-643e9c05e9a3" providerId="ADAL" clId="{404832C4-EF9D-47E0-A929-2766EC1E0D8E}" dt="2024-11-07T06:14:19.702" v="673" actId="478"/>
          <ac:spMkLst>
            <pc:docMk/>
            <pc:sldMk cId="751318410" sldId="266"/>
            <ac:spMk id="2" creationId="{AFB4A012-EF27-22AF-8B8D-6C1FAB8223C7}"/>
          </ac:spMkLst>
        </pc:spChg>
        <pc:spChg chg="del">
          <ac:chgData name="S, Varatharaj Kannan (365)" userId="4059857b-a82a-4577-ac2c-643e9c05e9a3" providerId="ADAL" clId="{404832C4-EF9D-47E0-A929-2766EC1E0D8E}" dt="2024-11-07T06:14:19.702" v="673" actId="478"/>
          <ac:spMkLst>
            <pc:docMk/>
            <pc:sldMk cId="751318410" sldId="266"/>
            <ac:spMk id="3" creationId="{4C0605B7-586B-9F2F-9F6A-B282C7100127}"/>
          </ac:spMkLst>
        </pc:spChg>
        <pc:spChg chg="add mod">
          <ac:chgData name="S, Varatharaj Kannan (365)" userId="4059857b-a82a-4577-ac2c-643e9c05e9a3" providerId="ADAL" clId="{404832C4-EF9D-47E0-A929-2766EC1E0D8E}" dt="2024-11-07T06:16:31.521" v="750" actId="122"/>
          <ac:spMkLst>
            <pc:docMk/>
            <pc:sldMk cId="751318410" sldId="266"/>
            <ac:spMk id="5" creationId="{6819BC4A-61F7-4FD3-6F2D-D0702DD91B53}"/>
          </ac:spMkLst>
        </pc:spChg>
        <pc:graphicFrameChg chg="add mod modVis">
          <ac:chgData name="S, Varatharaj Kannan (365)" userId="4059857b-a82a-4577-ac2c-643e9c05e9a3" providerId="ADAL" clId="{404832C4-EF9D-47E0-A929-2766EC1E0D8E}" dt="2024-11-07T06:14:20.227" v="685"/>
          <ac:graphicFrameMkLst>
            <pc:docMk/>
            <pc:sldMk cId="751318410" sldId="266"/>
            <ac:graphicFrameMk id="4" creationId="{DDF6ECF7-6D52-9A2D-0B4B-5137C31D9597}"/>
          </ac:graphicFrameMkLst>
        </pc:graphicFrameChg>
        <pc:picChg chg="add mod">
          <ac:chgData name="S, Varatharaj Kannan (365)" userId="4059857b-a82a-4577-ac2c-643e9c05e9a3" providerId="ADAL" clId="{404832C4-EF9D-47E0-A929-2766EC1E0D8E}" dt="2024-11-07T06:18:24.786" v="775" actId="1076"/>
          <ac:picMkLst>
            <pc:docMk/>
            <pc:sldMk cId="751318410" sldId="266"/>
            <ac:picMk id="11266" creationId="{6BD32F71-EEE0-D2D8-F524-424F26FE1275}"/>
          </ac:picMkLst>
        </pc:picChg>
        <pc:picChg chg="add del mod">
          <ac:chgData name="S, Varatharaj Kannan (365)" userId="4059857b-a82a-4577-ac2c-643e9c05e9a3" providerId="ADAL" clId="{404832C4-EF9D-47E0-A929-2766EC1E0D8E}" dt="2024-11-07T06:18:22.601" v="774" actId="478"/>
          <ac:picMkLst>
            <pc:docMk/>
            <pc:sldMk cId="751318410" sldId="266"/>
            <ac:picMk id="11268" creationId="{82ACCC00-1FF7-4F89-99D5-17581BD681FA}"/>
          </ac:picMkLst>
        </pc:picChg>
        <pc:picChg chg="add mod">
          <ac:chgData name="S, Varatharaj Kannan (365)" userId="4059857b-a82a-4577-ac2c-643e9c05e9a3" providerId="ADAL" clId="{404832C4-EF9D-47E0-A929-2766EC1E0D8E}" dt="2024-11-07T06:18:21.352" v="773" actId="1076"/>
          <ac:picMkLst>
            <pc:docMk/>
            <pc:sldMk cId="751318410" sldId="266"/>
            <ac:picMk id="11270" creationId="{093DEDFC-0200-652A-266E-60C042534896}"/>
          </ac:picMkLst>
        </pc:picChg>
      </pc:sldChg>
      <pc:sldChg chg="addSp delSp modSp new mod">
        <pc:chgData name="S, Varatharaj Kannan (365)" userId="4059857b-a82a-4577-ac2c-643e9c05e9a3" providerId="ADAL" clId="{404832C4-EF9D-47E0-A929-2766EC1E0D8E}" dt="2024-11-07T06:17:38.660" v="759" actId="1076"/>
        <pc:sldMkLst>
          <pc:docMk/>
          <pc:sldMk cId="113311666" sldId="267"/>
        </pc:sldMkLst>
        <pc:spChg chg="del">
          <ac:chgData name="S, Varatharaj Kannan (365)" userId="4059857b-a82a-4577-ac2c-643e9c05e9a3" providerId="ADAL" clId="{404832C4-EF9D-47E0-A929-2766EC1E0D8E}" dt="2024-11-07T06:15:01.933" v="687" actId="478"/>
          <ac:spMkLst>
            <pc:docMk/>
            <pc:sldMk cId="113311666" sldId="267"/>
            <ac:spMk id="2" creationId="{7E436136-9646-0A72-79FE-1FF61518F6F8}"/>
          </ac:spMkLst>
        </pc:spChg>
        <pc:spChg chg="del">
          <ac:chgData name="S, Varatharaj Kannan (365)" userId="4059857b-a82a-4577-ac2c-643e9c05e9a3" providerId="ADAL" clId="{404832C4-EF9D-47E0-A929-2766EC1E0D8E}" dt="2024-11-07T06:15:01.933" v="687" actId="478"/>
          <ac:spMkLst>
            <pc:docMk/>
            <pc:sldMk cId="113311666" sldId="267"/>
            <ac:spMk id="3" creationId="{E2928D83-61C7-CE01-08E1-9A92BA86DE5C}"/>
          </ac:spMkLst>
        </pc:spChg>
        <pc:spChg chg="add mod">
          <ac:chgData name="S, Varatharaj Kannan (365)" userId="4059857b-a82a-4577-ac2c-643e9c05e9a3" providerId="ADAL" clId="{404832C4-EF9D-47E0-A929-2766EC1E0D8E}" dt="2024-11-07T06:17:29.564" v="756" actId="1076"/>
          <ac:spMkLst>
            <pc:docMk/>
            <pc:sldMk cId="113311666" sldId="267"/>
            <ac:spMk id="5" creationId="{C68137DD-189A-9CED-4729-594B388EA6AA}"/>
          </ac:spMkLst>
        </pc:spChg>
        <pc:graphicFrameChg chg="add mod ord modVis">
          <ac:chgData name="S, Varatharaj Kannan (365)" userId="4059857b-a82a-4577-ac2c-643e9c05e9a3" providerId="ADAL" clId="{404832C4-EF9D-47E0-A929-2766EC1E0D8E}" dt="2024-11-07T06:15:02.468" v="702"/>
          <ac:graphicFrameMkLst>
            <pc:docMk/>
            <pc:sldMk cId="113311666" sldId="267"/>
            <ac:graphicFrameMk id="6" creationId="{C8FCE320-4775-48C1-B9F7-6C76A24FBC86}"/>
          </ac:graphicFrameMkLst>
        </pc:graphicFrameChg>
        <pc:picChg chg="add mod">
          <ac:chgData name="S, Varatharaj Kannan (365)" userId="4059857b-a82a-4577-ac2c-643e9c05e9a3" providerId="ADAL" clId="{404832C4-EF9D-47E0-A929-2766EC1E0D8E}" dt="2024-11-07T06:17:38.660" v="759" actId="1076"/>
          <ac:picMkLst>
            <pc:docMk/>
            <pc:sldMk cId="113311666" sldId="267"/>
            <ac:picMk id="10242" creationId="{56593146-DB71-7260-7DCA-C75747FE9AFC}"/>
          </ac:picMkLst>
        </pc:picChg>
        <pc:picChg chg="add mod">
          <ac:chgData name="S, Varatharaj Kannan (365)" userId="4059857b-a82a-4577-ac2c-643e9c05e9a3" providerId="ADAL" clId="{404832C4-EF9D-47E0-A929-2766EC1E0D8E}" dt="2024-11-07T06:17:36.768" v="758" actId="1076"/>
          <ac:picMkLst>
            <pc:docMk/>
            <pc:sldMk cId="113311666" sldId="267"/>
            <ac:picMk id="10244" creationId="{48B55CB6-9FA9-946C-6AA2-307044B6779F}"/>
          </ac:picMkLst>
        </pc:picChg>
      </pc:sldChg>
      <pc:sldChg chg="addSp delSp modSp new mod">
        <pc:chgData name="S, Varatharaj Kannan (365)" userId="4059857b-a82a-4577-ac2c-643e9c05e9a3" providerId="ADAL" clId="{404832C4-EF9D-47E0-A929-2766EC1E0D8E}" dt="2024-11-08T06:52:59.503" v="3961" actId="113"/>
        <pc:sldMkLst>
          <pc:docMk/>
          <pc:sldMk cId="2902097192" sldId="268"/>
        </pc:sldMkLst>
        <pc:spChg chg="del">
          <ac:chgData name="S, Varatharaj Kannan (365)" userId="4059857b-a82a-4577-ac2c-643e9c05e9a3" providerId="ADAL" clId="{404832C4-EF9D-47E0-A929-2766EC1E0D8E}" dt="2024-11-07T06:18:31.703" v="777" actId="478"/>
          <ac:spMkLst>
            <pc:docMk/>
            <pc:sldMk cId="2902097192" sldId="268"/>
            <ac:spMk id="2" creationId="{9AD92A51-0685-F44D-976C-9030FC2B41DB}"/>
          </ac:spMkLst>
        </pc:spChg>
        <pc:spChg chg="del">
          <ac:chgData name="S, Varatharaj Kannan (365)" userId="4059857b-a82a-4577-ac2c-643e9c05e9a3" providerId="ADAL" clId="{404832C4-EF9D-47E0-A929-2766EC1E0D8E}" dt="2024-11-07T06:18:31.703" v="777" actId="478"/>
          <ac:spMkLst>
            <pc:docMk/>
            <pc:sldMk cId="2902097192" sldId="268"/>
            <ac:spMk id="3" creationId="{92AE1276-82FB-8695-99CD-1A2C95A70F5F}"/>
          </ac:spMkLst>
        </pc:spChg>
        <pc:spChg chg="add mod">
          <ac:chgData name="S, Varatharaj Kannan (365)" userId="4059857b-a82a-4577-ac2c-643e9c05e9a3" providerId="ADAL" clId="{404832C4-EF9D-47E0-A929-2766EC1E0D8E}" dt="2024-11-08T06:52:59.503" v="3961" actId="113"/>
          <ac:spMkLst>
            <pc:docMk/>
            <pc:sldMk cId="2902097192" sldId="268"/>
            <ac:spMk id="5" creationId="{6E0C209C-7B8E-EAD1-3ABE-E870D3247B76}"/>
          </ac:spMkLst>
        </pc:spChg>
        <pc:spChg chg="add mod">
          <ac:chgData name="S, Varatharaj Kannan (365)" userId="4059857b-a82a-4577-ac2c-643e9c05e9a3" providerId="ADAL" clId="{404832C4-EF9D-47E0-A929-2766EC1E0D8E}" dt="2024-11-08T06:51:52.423" v="3945"/>
          <ac:spMkLst>
            <pc:docMk/>
            <pc:sldMk cId="2902097192" sldId="268"/>
            <ac:spMk id="6" creationId="{EBEF265C-FB1F-2774-3652-5A9389E3CC61}"/>
          </ac:spMkLst>
        </pc:spChg>
        <pc:graphicFrameChg chg="add mod modVis">
          <ac:chgData name="S, Varatharaj Kannan (365)" userId="4059857b-a82a-4577-ac2c-643e9c05e9a3" providerId="ADAL" clId="{404832C4-EF9D-47E0-A929-2766EC1E0D8E}" dt="2024-11-07T06:18:32.226" v="789"/>
          <ac:graphicFrameMkLst>
            <pc:docMk/>
            <pc:sldMk cId="2902097192" sldId="268"/>
            <ac:graphicFrameMk id="4" creationId="{9FE3467B-F08E-321C-2392-1F6CF9B7971B}"/>
          </ac:graphicFrameMkLst>
        </pc:graphicFrameChg>
        <pc:cxnChg chg="add mod">
          <ac:chgData name="S, Varatharaj Kannan (365)" userId="4059857b-a82a-4577-ac2c-643e9c05e9a3" providerId="ADAL" clId="{404832C4-EF9D-47E0-A929-2766EC1E0D8E}" dt="2024-11-07T06:19:54.738" v="814"/>
          <ac:cxnSpMkLst>
            <pc:docMk/>
            <pc:sldMk cId="2902097192" sldId="268"/>
            <ac:cxnSpMk id="7" creationId="{7B2BA875-D114-3915-A64C-A2F51C8013E9}"/>
          </ac:cxnSpMkLst>
        </pc:cxnChg>
      </pc:sldChg>
      <pc:sldChg chg="addSp add del mod">
        <pc:chgData name="S, Varatharaj Kannan (365)" userId="4059857b-a82a-4577-ac2c-643e9c05e9a3" providerId="ADAL" clId="{404832C4-EF9D-47E0-A929-2766EC1E0D8E}" dt="2024-11-07T06:25:48.034" v="921" actId="47"/>
        <pc:sldMkLst>
          <pc:docMk/>
          <pc:sldMk cId="2792382022" sldId="269"/>
        </pc:sldMkLst>
        <pc:spChg chg="add">
          <ac:chgData name="S, Varatharaj Kannan (365)" userId="4059857b-a82a-4577-ac2c-643e9c05e9a3" providerId="ADAL" clId="{404832C4-EF9D-47E0-A929-2766EC1E0D8E}" dt="2024-11-07T06:21:18.001" v="848" actId="22"/>
          <ac:spMkLst>
            <pc:docMk/>
            <pc:sldMk cId="2792382022" sldId="269"/>
            <ac:spMk id="3" creationId="{99CDB8D5-C685-F17F-9750-03AB5C6351DC}"/>
          </ac:spMkLst>
        </pc:spChg>
      </pc:sldChg>
      <pc:sldChg chg="addSp modSp add del mod">
        <pc:chgData name="S, Varatharaj Kannan (365)" userId="4059857b-a82a-4577-ac2c-643e9c05e9a3" providerId="ADAL" clId="{404832C4-EF9D-47E0-A929-2766EC1E0D8E}" dt="2024-11-08T07:05:52.974" v="4092" actId="47"/>
        <pc:sldMkLst>
          <pc:docMk/>
          <pc:sldMk cId="567929659" sldId="270"/>
        </pc:sldMkLst>
        <pc:spChg chg="add mod">
          <ac:chgData name="S, Varatharaj Kannan (365)" userId="4059857b-a82a-4577-ac2c-643e9c05e9a3" providerId="ADAL" clId="{404832C4-EF9D-47E0-A929-2766EC1E0D8E}" dt="2024-11-08T03:49:19.554" v="1496" actId="1076"/>
          <ac:spMkLst>
            <pc:docMk/>
            <pc:sldMk cId="567929659" sldId="270"/>
            <ac:spMk id="2" creationId="{35F312A0-FBFC-F8E6-D648-07AAA9ADD6D6}"/>
          </ac:spMkLst>
        </pc:spChg>
        <pc:spChg chg="add mod">
          <ac:chgData name="S, Varatharaj Kannan (365)" userId="4059857b-a82a-4577-ac2c-643e9c05e9a3" providerId="ADAL" clId="{404832C4-EF9D-47E0-A929-2766EC1E0D8E}" dt="2024-11-07T06:26:06.372" v="925"/>
          <ac:spMkLst>
            <pc:docMk/>
            <pc:sldMk cId="567929659" sldId="270"/>
            <ac:spMk id="3" creationId="{C3912625-31D0-3642-78D6-65D9C1F8BA9A}"/>
          </ac:spMkLst>
        </pc:spChg>
        <pc:spChg chg="add mod">
          <ac:chgData name="S, Varatharaj Kannan (365)" userId="4059857b-a82a-4577-ac2c-643e9c05e9a3" providerId="ADAL" clId="{404832C4-EF9D-47E0-A929-2766EC1E0D8E}" dt="2024-11-08T03:49:33.167" v="1502" actId="1076"/>
          <ac:spMkLst>
            <pc:docMk/>
            <pc:sldMk cId="567929659" sldId="270"/>
            <ac:spMk id="6" creationId="{233711D4-F93B-ABC8-B1CE-4B8D52E70252}"/>
          </ac:spMkLst>
        </pc:spChg>
        <pc:spChg chg="add mod">
          <ac:chgData name="S, Varatharaj Kannan (365)" userId="4059857b-a82a-4577-ac2c-643e9c05e9a3" providerId="ADAL" clId="{404832C4-EF9D-47E0-A929-2766EC1E0D8E}" dt="2024-11-07T06:29:11.371" v="980" actId="14100"/>
          <ac:spMkLst>
            <pc:docMk/>
            <pc:sldMk cId="567929659" sldId="270"/>
            <ac:spMk id="7" creationId="{3AE9DDC7-E218-FA27-2813-734A9E658EE5}"/>
          </ac:spMkLst>
        </pc:spChg>
        <pc:spChg chg="add mod">
          <ac:chgData name="S, Varatharaj Kannan (365)" userId="4059857b-a82a-4577-ac2c-643e9c05e9a3" providerId="ADAL" clId="{404832C4-EF9D-47E0-A929-2766EC1E0D8E}" dt="2024-11-07T13:31:30.374" v="986" actId="1076"/>
          <ac:spMkLst>
            <pc:docMk/>
            <pc:sldMk cId="567929659" sldId="270"/>
            <ac:spMk id="8" creationId="{67B1542E-9BED-43D4-CE57-C42974A12E6C}"/>
          </ac:spMkLst>
        </pc:spChg>
        <pc:cxnChg chg="add mod">
          <ac:chgData name="S, Varatharaj Kannan (365)" userId="4059857b-a82a-4577-ac2c-643e9c05e9a3" providerId="ADAL" clId="{404832C4-EF9D-47E0-A929-2766EC1E0D8E}" dt="2024-11-07T06:26:00.734" v="924"/>
          <ac:cxnSpMkLst>
            <pc:docMk/>
            <pc:sldMk cId="567929659" sldId="270"/>
            <ac:cxnSpMk id="5" creationId="{ED0E5AA2-D633-AF4B-35AF-59C20F232E8A}"/>
          </ac:cxnSpMkLst>
        </pc:cxnChg>
      </pc:sldChg>
      <pc:sldChg chg="addSp modSp add mod">
        <pc:chgData name="S, Varatharaj Kannan (365)" userId="4059857b-a82a-4577-ac2c-643e9c05e9a3" providerId="ADAL" clId="{404832C4-EF9D-47E0-A929-2766EC1E0D8E}" dt="2024-11-08T04:25:51.882" v="1948" actId="20577"/>
        <pc:sldMkLst>
          <pc:docMk/>
          <pc:sldMk cId="4075384128" sldId="271"/>
        </pc:sldMkLst>
        <pc:spChg chg="add mod">
          <ac:chgData name="S, Varatharaj Kannan (365)" userId="4059857b-a82a-4577-ac2c-643e9c05e9a3" providerId="ADAL" clId="{404832C4-EF9D-47E0-A929-2766EC1E0D8E}" dt="2024-11-08T04:23:02.974" v="1894"/>
          <ac:spMkLst>
            <pc:docMk/>
            <pc:sldMk cId="4075384128" sldId="271"/>
            <ac:spMk id="2" creationId="{BC72F454-9879-0A53-62D7-30415546D668}"/>
          </ac:spMkLst>
        </pc:spChg>
        <pc:spChg chg="add mod">
          <ac:chgData name="S, Varatharaj Kannan (365)" userId="4059857b-a82a-4577-ac2c-643e9c05e9a3" providerId="ADAL" clId="{404832C4-EF9D-47E0-A929-2766EC1E0D8E}" dt="2024-11-08T04:25:51.882" v="1948" actId="20577"/>
          <ac:spMkLst>
            <pc:docMk/>
            <pc:sldMk cId="4075384128" sldId="271"/>
            <ac:spMk id="6" creationId="{E316BF26-46D1-685E-A3DD-06228762E26C}"/>
          </ac:spMkLst>
        </pc:spChg>
        <pc:spChg chg="add">
          <ac:chgData name="S, Varatharaj Kannan (365)" userId="4059857b-a82a-4577-ac2c-643e9c05e9a3" providerId="ADAL" clId="{404832C4-EF9D-47E0-A929-2766EC1E0D8E}" dt="2024-11-08T04:24:26.822" v="1919"/>
          <ac:spMkLst>
            <pc:docMk/>
            <pc:sldMk cId="4075384128" sldId="271"/>
            <ac:spMk id="7" creationId="{17A48320-0FC1-0D39-8DCE-9C3DF4BC6CA2}"/>
          </ac:spMkLst>
        </pc:spChg>
        <pc:cxnChg chg="add mod">
          <ac:chgData name="S, Varatharaj Kannan (365)" userId="4059857b-a82a-4577-ac2c-643e9c05e9a3" providerId="ADAL" clId="{404832C4-EF9D-47E0-A929-2766EC1E0D8E}" dt="2024-11-08T04:22:51.346" v="1893"/>
          <ac:cxnSpMkLst>
            <pc:docMk/>
            <pc:sldMk cId="4075384128" sldId="271"/>
            <ac:cxnSpMk id="3" creationId="{E125CFD9-EC81-DA5A-BD69-0853CA046E36}"/>
          </ac:cxnSpMkLst>
        </pc:cxnChg>
      </pc:sldChg>
      <pc:sldChg chg="addSp delSp modSp add mod">
        <pc:chgData name="S, Varatharaj Kannan (365)" userId="4059857b-a82a-4577-ac2c-643e9c05e9a3" providerId="ADAL" clId="{404832C4-EF9D-47E0-A929-2766EC1E0D8E}" dt="2024-11-08T08:10:26.334" v="4403" actId="14100"/>
        <pc:sldMkLst>
          <pc:docMk/>
          <pc:sldMk cId="286768482" sldId="272"/>
        </pc:sldMkLst>
        <pc:spChg chg="add mod">
          <ac:chgData name="S, Varatharaj Kannan (365)" userId="4059857b-a82a-4577-ac2c-643e9c05e9a3" providerId="ADAL" clId="{404832C4-EF9D-47E0-A929-2766EC1E0D8E}" dt="2024-11-08T08:03:13.634" v="4310" actId="20577"/>
          <ac:spMkLst>
            <pc:docMk/>
            <pc:sldMk cId="286768482" sldId="272"/>
            <ac:spMk id="2" creationId="{408593D3-8314-3F89-4088-1E6B9052D088}"/>
          </ac:spMkLst>
        </pc:spChg>
        <pc:spChg chg="add mod">
          <ac:chgData name="S, Varatharaj Kannan (365)" userId="4059857b-a82a-4577-ac2c-643e9c05e9a3" providerId="ADAL" clId="{404832C4-EF9D-47E0-A929-2766EC1E0D8E}" dt="2024-11-08T08:10:26.334" v="4403" actId="14100"/>
          <ac:spMkLst>
            <pc:docMk/>
            <pc:sldMk cId="286768482" sldId="272"/>
            <ac:spMk id="6" creationId="{ED1F3788-52DC-BB27-2810-902686A36138}"/>
          </ac:spMkLst>
        </pc:spChg>
        <pc:spChg chg="add">
          <ac:chgData name="S, Varatharaj Kannan (365)" userId="4059857b-a82a-4577-ac2c-643e9c05e9a3" providerId="ADAL" clId="{404832C4-EF9D-47E0-A929-2766EC1E0D8E}" dt="2024-11-08T05:12:47.485" v="2145"/>
          <ac:spMkLst>
            <pc:docMk/>
            <pc:sldMk cId="286768482" sldId="272"/>
            <ac:spMk id="7" creationId="{44F4C317-FBA4-0D7B-931A-54FBB84BCECE}"/>
          </ac:spMkLst>
        </pc:spChg>
        <pc:spChg chg="add">
          <ac:chgData name="S, Varatharaj Kannan (365)" userId="4059857b-a82a-4577-ac2c-643e9c05e9a3" providerId="ADAL" clId="{404832C4-EF9D-47E0-A929-2766EC1E0D8E}" dt="2024-11-08T05:13:03.980" v="2147"/>
          <ac:spMkLst>
            <pc:docMk/>
            <pc:sldMk cId="286768482" sldId="272"/>
            <ac:spMk id="8" creationId="{30EDE8F2-D6E8-E34C-1453-08ABD803EB96}"/>
          </ac:spMkLst>
        </pc:spChg>
        <pc:spChg chg="add del mod">
          <ac:chgData name="S, Varatharaj Kannan (365)" userId="4059857b-a82a-4577-ac2c-643e9c05e9a3" providerId="ADAL" clId="{404832C4-EF9D-47E0-A929-2766EC1E0D8E}" dt="2024-11-08T08:03:22.801" v="4312" actId="478"/>
          <ac:spMkLst>
            <pc:docMk/>
            <pc:sldMk cId="286768482" sldId="272"/>
            <ac:spMk id="9" creationId="{0B60BB09-3652-A3D2-DCA1-E55E0A0A742A}"/>
          </ac:spMkLst>
        </pc:spChg>
        <pc:spChg chg="add del mod">
          <ac:chgData name="S, Varatharaj Kannan (365)" userId="4059857b-a82a-4577-ac2c-643e9c05e9a3" providerId="ADAL" clId="{404832C4-EF9D-47E0-A929-2766EC1E0D8E}" dt="2024-11-08T08:03:25.386" v="4313" actId="478"/>
          <ac:spMkLst>
            <pc:docMk/>
            <pc:sldMk cId="286768482" sldId="272"/>
            <ac:spMk id="10" creationId="{87AF53C9-227F-EF1E-E23B-0D8BB3BFE4DE}"/>
          </ac:spMkLst>
        </pc:spChg>
        <pc:spChg chg="add">
          <ac:chgData name="S, Varatharaj Kannan (365)" userId="4059857b-a82a-4577-ac2c-643e9c05e9a3" providerId="ADAL" clId="{404832C4-EF9D-47E0-A929-2766EC1E0D8E}" dt="2024-11-08T08:03:34.315" v="4314"/>
          <ac:spMkLst>
            <pc:docMk/>
            <pc:sldMk cId="286768482" sldId="272"/>
            <ac:spMk id="11" creationId="{95FAADBB-F378-7A0A-B5F3-D1E354B99E14}"/>
          </ac:spMkLst>
        </pc:spChg>
        <pc:picChg chg="add mod">
          <ac:chgData name="S, Varatharaj Kannan (365)" userId="4059857b-a82a-4577-ac2c-643e9c05e9a3" providerId="ADAL" clId="{404832C4-EF9D-47E0-A929-2766EC1E0D8E}" dt="2024-11-08T08:10:10.847" v="4400" actId="1076"/>
          <ac:picMkLst>
            <pc:docMk/>
            <pc:sldMk cId="286768482" sldId="272"/>
            <ac:picMk id="13" creationId="{0D820860-A3D1-8ED9-4C43-D2B5FA0E168D}"/>
          </ac:picMkLst>
        </pc:picChg>
        <pc:picChg chg="add mod">
          <ac:chgData name="S, Varatharaj Kannan (365)" userId="4059857b-a82a-4577-ac2c-643e9c05e9a3" providerId="ADAL" clId="{404832C4-EF9D-47E0-A929-2766EC1E0D8E}" dt="2024-11-08T08:10:15.781" v="4402" actId="14100"/>
          <ac:picMkLst>
            <pc:docMk/>
            <pc:sldMk cId="286768482" sldId="272"/>
            <ac:picMk id="15" creationId="{D60B7EF6-FCEA-2995-943E-F502DDD8170C}"/>
          </ac:picMkLst>
        </pc:picChg>
        <pc:cxnChg chg="add mod">
          <ac:chgData name="S, Varatharaj Kannan (365)" userId="4059857b-a82a-4577-ac2c-643e9c05e9a3" providerId="ADAL" clId="{404832C4-EF9D-47E0-A929-2766EC1E0D8E}" dt="2024-11-08T04:34:04.001" v="2103"/>
          <ac:cxnSpMkLst>
            <pc:docMk/>
            <pc:sldMk cId="286768482" sldId="272"/>
            <ac:cxnSpMk id="3" creationId="{A746BA78-EEFA-ADCE-CFCB-9569430423E9}"/>
          </ac:cxnSpMkLst>
        </pc:cxnChg>
      </pc:sldChg>
      <pc:sldChg chg="addSp modSp add del mod">
        <pc:chgData name="S, Varatharaj Kannan (365)" userId="4059857b-a82a-4577-ac2c-643e9c05e9a3" providerId="ADAL" clId="{404832C4-EF9D-47E0-A929-2766EC1E0D8E}" dt="2024-11-08T08:07:59.920" v="4385" actId="47"/>
        <pc:sldMkLst>
          <pc:docMk/>
          <pc:sldMk cId="1809894438" sldId="273"/>
        </pc:sldMkLst>
        <pc:spChg chg="add mod">
          <ac:chgData name="S, Varatharaj Kannan (365)" userId="4059857b-a82a-4577-ac2c-643e9c05e9a3" providerId="ADAL" clId="{404832C4-EF9D-47E0-A929-2766EC1E0D8E}" dt="2024-11-08T05:17:41.260" v="2301"/>
          <ac:spMkLst>
            <pc:docMk/>
            <pc:sldMk cId="1809894438" sldId="273"/>
            <ac:spMk id="2" creationId="{F9198BB9-FA95-4694-1FCD-CCE7071CA220}"/>
          </ac:spMkLst>
        </pc:spChg>
        <pc:spChg chg="add mod">
          <ac:chgData name="S, Varatharaj Kannan (365)" userId="4059857b-a82a-4577-ac2c-643e9c05e9a3" providerId="ADAL" clId="{404832C4-EF9D-47E0-A929-2766EC1E0D8E}" dt="2024-11-08T05:24:23.866" v="2349" actId="12"/>
          <ac:spMkLst>
            <pc:docMk/>
            <pc:sldMk cId="1809894438" sldId="273"/>
            <ac:spMk id="6" creationId="{37412AB8-77A8-1A86-9B07-19D9F7CCD144}"/>
          </ac:spMkLst>
        </pc:spChg>
        <pc:cxnChg chg="add mod">
          <ac:chgData name="S, Varatharaj Kannan (365)" userId="4059857b-a82a-4577-ac2c-643e9c05e9a3" providerId="ADAL" clId="{404832C4-EF9D-47E0-A929-2766EC1E0D8E}" dt="2024-11-08T05:17:33.195" v="2300"/>
          <ac:cxnSpMkLst>
            <pc:docMk/>
            <pc:sldMk cId="1809894438" sldId="273"/>
            <ac:cxnSpMk id="3" creationId="{F78F9F99-3BAA-672C-9DDB-74D2317460F2}"/>
          </ac:cxnSpMkLst>
        </pc:cxnChg>
      </pc:sldChg>
      <pc:sldChg chg="addSp modSp add mod">
        <pc:chgData name="S, Varatharaj Kannan (365)" userId="4059857b-a82a-4577-ac2c-643e9c05e9a3" providerId="ADAL" clId="{404832C4-EF9D-47E0-A929-2766EC1E0D8E}" dt="2024-11-08T05:23:41.578" v="2339" actId="1076"/>
        <pc:sldMkLst>
          <pc:docMk/>
          <pc:sldMk cId="1460828423" sldId="274"/>
        </pc:sldMkLst>
        <pc:spChg chg="add mod">
          <ac:chgData name="S, Varatharaj Kannan (365)" userId="4059857b-a82a-4577-ac2c-643e9c05e9a3" providerId="ADAL" clId="{404832C4-EF9D-47E0-A929-2766EC1E0D8E}" dt="2024-11-08T05:20:21.296" v="2329"/>
          <ac:spMkLst>
            <pc:docMk/>
            <pc:sldMk cId="1460828423" sldId="274"/>
            <ac:spMk id="2" creationId="{190A6501-5EEC-4A08-C65D-F5BC54786C9B}"/>
          </ac:spMkLst>
        </pc:spChg>
        <pc:picChg chg="add mod">
          <ac:chgData name="S, Varatharaj Kannan (365)" userId="4059857b-a82a-4577-ac2c-643e9c05e9a3" providerId="ADAL" clId="{404832C4-EF9D-47E0-A929-2766EC1E0D8E}" dt="2024-11-08T05:23:39.030" v="2338" actId="14100"/>
          <ac:picMkLst>
            <pc:docMk/>
            <pc:sldMk cId="1460828423" sldId="274"/>
            <ac:picMk id="2050" creationId="{5B75EF2F-C3A3-9488-93C5-D2B7FEDEC787}"/>
          </ac:picMkLst>
        </pc:picChg>
        <pc:picChg chg="add mod">
          <ac:chgData name="S, Varatharaj Kannan (365)" userId="4059857b-a82a-4577-ac2c-643e9c05e9a3" providerId="ADAL" clId="{404832C4-EF9D-47E0-A929-2766EC1E0D8E}" dt="2024-11-08T05:23:41.578" v="2339" actId="1076"/>
          <ac:picMkLst>
            <pc:docMk/>
            <pc:sldMk cId="1460828423" sldId="274"/>
            <ac:picMk id="2052" creationId="{7E79FAE4-6747-732E-4D9A-42CD3A1A8523}"/>
          </ac:picMkLst>
        </pc:picChg>
      </pc:sldChg>
      <pc:sldChg chg="addSp delSp modSp add mod">
        <pc:chgData name="S, Varatharaj Kannan (365)" userId="4059857b-a82a-4577-ac2c-643e9c05e9a3" providerId="ADAL" clId="{404832C4-EF9D-47E0-A929-2766EC1E0D8E}" dt="2024-11-08T12:21:40.912" v="4621" actId="20577"/>
        <pc:sldMkLst>
          <pc:docMk/>
          <pc:sldMk cId="1563500615" sldId="275"/>
        </pc:sldMkLst>
        <pc:spChg chg="add mod">
          <ac:chgData name="S, Varatharaj Kannan (365)" userId="4059857b-a82a-4577-ac2c-643e9c05e9a3" providerId="ADAL" clId="{404832C4-EF9D-47E0-A929-2766EC1E0D8E}" dt="2024-11-08T12:21:40.912" v="4621" actId="20577"/>
          <ac:spMkLst>
            <pc:docMk/>
            <pc:sldMk cId="1563500615" sldId="275"/>
            <ac:spMk id="2" creationId="{87F4D7C0-A761-F951-14D4-67BE94CE3E71}"/>
          </ac:spMkLst>
        </pc:spChg>
        <pc:spChg chg="add mod">
          <ac:chgData name="S, Varatharaj Kannan (365)" userId="4059857b-a82a-4577-ac2c-643e9c05e9a3" providerId="ADAL" clId="{404832C4-EF9D-47E0-A929-2766EC1E0D8E}" dt="2024-11-08T05:44:18.179" v="2757" actId="113"/>
          <ac:spMkLst>
            <pc:docMk/>
            <pc:sldMk cId="1563500615" sldId="275"/>
            <ac:spMk id="5" creationId="{2E4D2378-AA28-F835-4ADA-6BFE5CEE72D3}"/>
          </ac:spMkLst>
        </pc:spChg>
        <pc:graphicFrameChg chg="add del mod modGraphic">
          <ac:chgData name="S, Varatharaj Kannan (365)" userId="4059857b-a82a-4577-ac2c-643e9c05e9a3" providerId="ADAL" clId="{404832C4-EF9D-47E0-A929-2766EC1E0D8E}" dt="2024-11-08T05:41:08.269" v="2711" actId="478"/>
          <ac:graphicFrameMkLst>
            <pc:docMk/>
            <pc:sldMk cId="1563500615" sldId="275"/>
            <ac:graphicFrameMk id="6" creationId="{DF36A2A7-7E51-D085-1161-E7162B045661}"/>
          </ac:graphicFrameMkLst>
        </pc:graphicFrameChg>
        <pc:cxnChg chg="add mod">
          <ac:chgData name="S, Varatharaj Kannan (365)" userId="4059857b-a82a-4577-ac2c-643e9c05e9a3" providerId="ADAL" clId="{404832C4-EF9D-47E0-A929-2766EC1E0D8E}" dt="2024-11-08T05:24:44.493" v="2350"/>
          <ac:cxnSpMkLst>
            <pc:docMk/>
            <pc:sldMk cId="1563500615" sldId="275"/>
            <ac:cxnSpMk id="3" creationId="{B7FAE91C-715A-C96F-4A76-5010EA997DE4}"/>
          </ac:cxnSpMkLst>
        </pc:cxnChg>
      </pc:sldChg>
      <pc:sldChg chg="add del">
        <pc:chgData name="S, Varatharaj Kannan (365)" userId="4059857b-a82a-4577-ac2c-643e9c05e9a3" providerId="ADAL" clId="{404832C4-EF9D-47E0-A929-2766EC1E0D8E}" dt="2024-11-08T07:15:56.557" v="4216" actId="47"/>
        <pc:sldMkLst>
          <pc:docMk/>
          <pc:sldMk cId="4020987092" sldId="276"/>
        </pc:sldMkLst>
      </pc:sldChg>
      <pc:sldChg chg="modSp add del mod">
        <pc:chgData name="S, Varatharaj Kannan (365)" userId="4059857b-a82a-4577-ac2c-643e9c05e9a3" providerId="ADAL" clId="{404832C4-EF9D-47E0-A929-2766EC1E0D8E}" dt="2024-11-08T06:52:10.157" v="3946" actId="47"/>
        <pc:sldMkLst>
          <pc:docMk/>
          <pc:sldMk cId="447658378" sldId="277"/>
        </pc:sldMkLst>
        <pc:spChg chg="mod">
          <ac:chgData name="S, Varatharaj Kannan (365)" userId="4059857b-a82a-4577-ac2c-643e9c05e9a3" providerId="ADAL" clId="{404832C4-EF9D-47E0-A929-2766EC1E0D8E}" dt="2024-11-08T03:50:08.653" v="1503" actId="255"/>
          <ac:spMkLst>
            <pc:docMk/>
            <pc:sldMk cId="447658378" sldId="277"/>
            <ac:spMk id="5" creationId="{6E0C209C-7B8E-EAD1-3ABE-E870D3247B76}"/>
          </ac:spMkLst>
        </pc:spChg>
        <pc:spChg chg="mod">
          <ac:chgData name="S, Varatharaj Kannan (365)" userId="4059857b-a82a-4577-ac2c-643e9c05e9a3" providerId="ADAL" clId="{404832C4-EF9D-47E0-A929-2766EC1E0D8E}" dt="2024-11-07T06:23:40.922" v="879"/>
          <ac:spMkLst>
            <pc:docMk/>
            <pc:sldMk cId="447658378" sldId="277"/>
            <ac:spMk id="6" creationId="{EBEF265C-FB1F-2774-3652-5A9389E3CC61}"/>
          </ac:spMkLst>
        </pc:spChg>
      </pc:sldChg>
      <pc:sldChg chg="addSp delSp modSp add del mod">
        <pc:chgData name="S, Varatharaj Kannan (365)" userId="4059857b-a82a-4577-ac2c-643e9c05e9a3" providerId="ADAL" clId="{404832C4-EF9D-47E0-A929-2766EC1E0D8E}" dt="2024-11-07T06:22:09.416" v="869" actId="47"/>
        <pc:sldMkLst>
          <pc:docMk/>
          <pc:sldMk cId="3270504227" sldId="277"/>
        </pc:sldMkLst>
        <pc:spChg chg="add del mod">
          <ac:chgData name="S, Varatharaj Kannan (365)" userId="4059857b-a82a-4577-ac2c-643e9c05e9a3" providerId="ADAL" clId="{404832C4-EF9D-47E0-A929-2766EC1E0D8E}" dt="2024-11-07T06:21:57.514" v="862" actId="1076"/>
          <ac:spMkLst>
            <pc:docMk/>
            <pc:sldMk cId="3270504227" sldId="277"/>
            <ac:spMk id="2" creationId="{AD88CE49-A0C3-7522-757D-9DB40222C669}"/>
          </ac:spMkLst>
        </pc:spChg>
        <pc:spChg chg="mod">
          <ac:chgData name="S, Varatharaj Kannan (365)" userId="4059857b-a82a-4577-ac2c-643e9c05e9a3" providerId="ADAL" clId="{404832C4-EF9D-47E0-A929-2766EC1E0D8E}" dt="2024-11-07T06:22:01.220" v="868" actId="6549"/>
          <ac:spMkLst>
            <pc:docMk/>
            <pc:sldMk cId="3270504227" sldId="277"/>
            <ac:spMk id="5" creationId="{6E0C209C-7B8E-EAD1-3ABE-E870D3247B76}"/>
          </ac:spMkLst>
        </pc:spChg>
      </pc:sldChg>
      <pc:sldChg chg="addSp delSp modSp add del mod">
        <pc:chgData name="S, Varatharaj Kannan (365)" userId="4059857b-a82a-4577-ac2c-643e9c05e9a3" providerId="ADAL" clId="{404832C4-EF9D-47E0-A929-2766EC1E0D8E}" dt="2024-11-08T06:53:38.502" v="3962" actId="47"/>
        <pc:sldMkLst>
          <pc:docMk/>
          <pc:sldMk cId="184076794" sldId="278"/>
        </pc:sldMkLst>
        <pc:spChg chg="add mod">
          <ac:chgData name="S, Varatharaj Kannan (365)" userId="4059857b-a82a-4577-ac2c-643e9c05e9a3" providerId="ADAL" clId="{404832C4-EF9D-47E0-A929-2766EC1E0D8E}" dt="2024-11-08T06:29:17.832" v="3760" actId="20577"/>
          <ac:spMkLst>
            <pc:docMk/>
            <pc:sldMk cId="184076794" sldId="278"/>
            <ac:spMk id="2" creationId="{9402D1A5-20B5-CC2D-B791-B1990233BA22}"/>
          </ac:spMkLst>
        </pc:spChg>
        <pc:spChg chg="add">
          <ac:chgData name="S, Varatharaj Kannan (365)" userId="4059857b-a82a-4577-ac2c-643e9c05e9a3" providerId="ADAL" clId="{404832C4-EF9D-47E0-A929-2766EC1E0D8E}" dt="2024-11-08T03:35:05.862" v="1146"/>
          <ac:spMkLst>
            <pc:docMk/>
            <pc:sldMk cId="184076794" sldId="278"/>
            <ac:spMk id="5" creationId="{373EBB89-9DE1-AE44-EC4B-7D9F6F603B43}"/>
          </ac:spMkLst>
        </pc:spChg>
        <pc:spChg chg="add del mod">
          <ac:chgData name="S, Varatharaj Kannan (365)" userId="4059857b-a82a-4577-ac2c-643e9c05e9a3" providerId="ADAL" clId="{404832C4-EF9D-47E0-A929-2766EC1E0D8E}" dt="2024-11-07T13:36:34.966" v="1062" actId="478"/>
          <ac:spMkLst>
            <pc:docMk/>
            <pc:sldMk cId="184076794" sldId="278"/>
            <ac:spMk id="5" creationId="{D9143413-8DFE-0588-6820-40834578EF45}"/>
          </ac:spMkLst>
        </pc:spChg>
        <pc:spChg chg="add mod">
          <ac:chgData name="S, Varatharaj Kannan (365)" userId="4059857b-a82a-4577-ac2c-643e9c05e9a3" providerId="ADAL" clId="{404832C4-EF9D-47E0-A929-2766EC1E0D8E}" dt="2024-11-08T06:31:15.703" v="3794" actId="6549"/>
          <ac:spMkLst>
            <pc:docMk/>
            <pc:sldMk cId="184076794" sldId="278"/>
            <ac:spMk id="6" creationId="{1BA1BA42-4B7F-3A23-DA42-4483225DE8E8}"/>
          </ac:spMkLst>
        </pc:spChg>
        <pc:cxnChg chg="add mod">
          <ac:chgData name="S, Varatharaj Kannan (365)" userId="4059857b-a82a-4577-ac2c-643e9c05e9a3" providerId="ADAL" clId="{404832C4-EF9D-47E0-A929-2766EC1E0D8E}" dt="2024-11-07T13:35:51.826" v="1058"/>
          <ac:cxnSpMkLst>
            <pc:docMk/>
            <pc:sldMk cId="184076794" sldId="278"/>
            <ac:cxnSpMk id="3" creationId="{BAC8A142-3EAB-A42A-568F-650CD1B0F37B}"/>
          </ac:cxnSpMkLst>
        </pc:cxnChg>
      </pc:sldChg>
      <pc:sldChg chg="addSp delSp modSp add mod">
        <pc:chgData name="S, Varatharaj Kannan (365)" userId="4059857b-a82a-4577-ac2c-643e9c05e9a3" providerId="ADAL" clId="{404832C4-EF9D-47E0-A929-2766EC1E0D8E}" dt="2024-11-08T04:22:43.560" v="1892" actId="1076"/>
        <pc:sldMkLst>
          <pc:docMk/>
          <pc:sldMk cId="994990608" sldId="279"/>
        </pc:sldMkLst>
        <pc:spChg chg="add mod">
          <ac:chgData name="S, Varatharaj Kannan (365)" userId="4059857b-a82a-4577-ac2c-643e9c05e9a3" providerId="ADAL" clId="{404832C4-EF9D-47E0-A929-2766EC1E0D8E}" dt="2024-11-08T04:21:25.540" v="1881"/>
          <ac:spMkLst>
            <pc:docMk/>
            <pc:sldMk cId="994990608" sldId="279"/>
            <ac:spMk id="2" creationId="{02ACAF78-3890-49D9-41C9-8E54981FB6BA}"/>
          </ac:spMkLst>
        </pc:spChg>
        <pc:picChg chg="add del mod">
          <ac:chgData name="S, Varatharaj Kannan (365)" userId="4059857b-a82a-4577-ac2c-643e9c05e9a3" providerId="ADAL" clId="{404832C4-EF9D-47E0-A929-2766EC1E0D8E}" dt="2024-11-08T04:22:39.170" v="1890" actId="478"/>
          <ac:picMkLst>
            <pc:docMk/>
            <pc:sldMk cId="994990608" sldId="279"/>
            <ac:picMk id="3" creationId="{93045FB1-0AB0-9209-33EB-0051A570F5E5}"/>
          </ac:picMkLst>
        </pc:picChg>
        <pc:picChg chg="add del mod">
          <ac:chgData name="S, Varatharaj Kannan (365)" userId="4059857b-a82a-4577-ac2c-643e9c05e9a3" providerId="ADAL" clId="{404832C4-EF9D-47E0-A929-2766EC1E0D8E}" dt="2024-11-08T04:22:06.493" v="1885" actId="478"/>
          <ac:picMkLst>
            <pc:docMk/>
            <pc:sldMk cId="994990608" sldId="279"/>
            <ac:picMk id="5" creationId="{2DA03FD6-34B0-35E6-78AF-17F4BF52CB69}"/>
          </ac:picMkLst>
        </pc:picChg>
        <pc:picChg chg="add mod">
          <ac:chgData name="S, Varatharaj Kannan (365)" userId="4059857b-a82a-4577-ac2c-643e9c05e9a3" providerId="ADAL" clId="{404832C4-EF9D-47E0-A929-2766EC1E0D8E}" dt="2024-11-08T04:22:13.519" v="1888" actId="1076"/>
          <ac:picMkLst>
            <pc:docMk/>
            <pc:sldMk cId="994990608" sldId="279"/>
            <ac:picMk id="5122" creationId="{E7363637-7FF8-3A93-9588-04AB798428D7}"/>
          </ac:picMkLst>
        </pc:picChg>
        <pc:picChg chg="add mod">
          <ac:chgData name="S, Varatharaj Kannan (365)" userId="4059857b-a82a-4577-ac2c-643e9c05e9a3" providerId="ADAL" clId="{404832C4-EF9D-47E0-A929-2766EC1E0D8E}" dt="2024-11-08T04:22:43.560" v="1892" actId="1076"/>
          <ac:picMkLst>
            <pc:docMk/>
            <pc:sldMk cId="994990608" sldId="279"/>
            <ac:picMk id="5124" creationId="{8CE1C30A-BD89-7B86-7237-BD9C029C6836}"/>
          </ac:picMkLst>
        </pc:picChg>
      </pc:sldChg>
      <pc:sldChg chg="modSp add del mod">
        <pc:chgData name="S, Varatharaj Kannan (365)" userId="4059857b-a82a-4577-ac2c-643e9c05e9a3" providerId="ADAL" clId="{404832C4-EF9D-47E0-A929-2766EC1E0D8E}" dt="2024-11-08T07:05:53.649" v="4093" actId="47"/>
        <pc:sldMkLst>
          <pc:docMk/>
          <pc:sldMk cId="1729330559" sldId="280"/>
        </pc:sldMkLst>
        <pc:spChg chg="mod">
          <ac:chgData name="S, Varatharaj Kannan (365)" userId="4059857b-a82a-4577-ac2c-643e9c05e9a3" providerId="ADAL" clId="{404832C4-EF9D-47E0-A929-2766EC1E0D8E}" dt="2024-11-08T03:48:49.694" v="1488" actId="1076"/>
          <ac:spMkLst>
            <pc:docMk/>
            <pc:sldMk cId="1729330559" sldId="280"/>
            <ac:spMk id="2" creationId="{35F312A0-FBFC-F8E6-D648-07AAA9ADD6D6}"/>
          </ac:spMkLst>
        </pc:spChg>
        <pc:spChg chg="mod">
          <ac:chgData name="S, Varatharaj Kannan (365)" userId="4059857b-a82a-4577-ac2c-643e9c05e9a3" providerId="ADAL" clId="{404832C4-EF9D-47E0-A929-2766EC1E0D8E}" dt="2024-11-08T03:49:00.333" v="1490" actId="1076"/>
          <ac:spMkLst>
            <pc:docMk/>
            <pc:sldMk cId="1729330559" sldId="280"/>
            <ac:spMk id="6" creationId="{233711D4-F93B-ABC8-B1CE-4B8D52E70252}"/>
          </ac:spMkLst>
        </pc:spChg>
        <pc:spChg chg="mod">
          <ac:chgData name="S, Varatharaj Kannan (365)" userId="4059857b-a82a-4577-ac2c-643e9c05e9a3" providerId="ADAL" clId="{404832C4-EF9D-47E0-A929-2766EC1E0D8E}" dt="2024-11-07T13:31:54.412" v="990"/>
          <ac:spMkLst>
            <pc:docMk/>
            <pc:sldMk cId="1729330559" sldId="280"/>
            <ac:spMk id="7" creationId="{3AE9DDC7-E218-FA27-2813-734A9E658EE5}"/>
          </ac:spMkLst>
        </pc:spChg>
        <pc:spChg chg="mod">
          <ac:chgData name="S, Varatharaj Kannan (365)" userId="4059857b-a82a-4577-ac2c-643e9c05e9a3" providerId="ADAL" clId="{404832C4-EF9D-47E0-A929-2766EC1E0D8E}" dt="2024-11-07T13:32:49.513" v="1005"/>
          <ac:spMkLst>
            <pc:docMk/>
            <pc:sldMk cId="1729330559" sldId="280"/>
            <ac:spMk id="8" creationId="{67B1542E-9BED-43D4-CE57-C42974A12E6C}"/>
          </ac:spMkLst>
        </pc:spChg>
      </pc:sldChg>
      <pc:sldChg chg="delSp modSp add del mod">
        <pc:chgData name="S, Varatharaj Kannan (365)" userId="4059857b-a82a-4577-ac2c-643e9c05e9a3" providerId="ADAL" clId="{404832C4-EF9D-47E0-A929-2766EC1E0D8E}" dt="2024-11-08T07:05:54.608" v="4094" actId="47"/>
        <pc:sldMkLst>
          <pc:docMk/>
          <pc:sldMk cId="2789829398" sldId="281"/>
        </pc:sldMkLst>
        <pc:spChg chg="mod">
          <ac:chgData name="S, Varatharaj Kannan (365)" userId="4059857b-a82a-4577-ac2c-643e9c05e9a3" providerId="ADAL" clId="{404832C4-EF9D-47E0-A929-2766EC1E0D8E}" dt="2024-11-07T13:34:36.868" v="1057" actId="1076"/>
          <ac:spMkLst>
            <pc:docMk/>
            <pc:sldMk cId="2789829398" sldId="281"/>
            <ac:spMk id="2" creationId="{35F312A0-FBFC-F8E6-D648-07AAA9ADD6D6}"/>
          </ac:spMkLst>
        </pc:spChg>
        <pc:spChg chg="del">
          <ac:chgData name="S, Varatharaj Kannan (365)" userId="4059857b-a82a-4577-ac2c-643e9c05e9a3" providerId="ADAL" clId="{404832C4-EF9D-47E0-A929-2766EC1E0D8E}" dt="2024-11-07T13:34:07.518" v="1030" actId="478"/>
          <ac:spMkLst>
            <pc:docMk/>
            <pc:sldMk cId="2789829398" sldId="281"/>
            <ac:spMk id="6" creationId="{233711D4-F93B-ABC8-B1CE-4B8D52E70252}"/>
          </ac:spMkLst>
        </pc:spChg>
        <pc:spChg chg="mod">
          <ac:chgData name="S, Varatharaj Kannan (365)" userId="4059857b-a82a-4577-ac2c-643e9c05e9a3" providerId="ADAL" clId="{404832C4-EF9D-47E0-A929-2766EC1E0D8E}" dt="2024-11-07T13:34:04.458" v="1029"/>
          <ac:spMkLst>
            <pc:docMk/>
            <pc:sldMk cId="2789829398" sldId="281"/>
            <ac:spMk id="7" creationId="{3AE9DDC7-E218-FA27-2813-734A9E658EE5}"/>
          </ac:spMkLst>
        </pc:spChg>
        <pc:spChg chg="del">
          <ac:chgData name="S, Varatharaj Kannan (365)" userId="4059857b-a82a-4577-ac2c-643e9c05e9a3" providerId="ADAL" clId="{404832C4-EF9D-47E0-A929-2766EC1E0D8E}" dt="2024-11-07T13:34:09.294" v="1031" actId="478"/>
          <ac:spMkLst>
            <pc:docMk/>
            <pc:sldMk cId="2789829398" sldId="281"/>
            <ac:spMk id="8" creationId="{67B1542E-9BED-43D4-CE57-C42974A12E6C}"/>
          </ac:spMkLst>
        </pc:spChg>
      </pc:sldChg>
      <pc:sldChg chg="addSp modSp add del mod">
        <pc:chgData name="S, Varatharaj Kannan (365)" userId="4059857b-a82a-4577-ac2c-643e9c05e9a3" providerId="ADAL" clId="{404832C4-EF9D-47E0-A929-2766EC1E0D8E}" dt="2024-11-08T06:29:52.655" v="3761" actId="47"/>
        <pc:sldMkLst>
          <pc:docMk/>
          <pc:sldMk cId="1999281045" sldId="282"/>
        </pc:sldMkLst>
        <pc:spChg chg="add">
          <ac:chgData name="S, Varatharaj Kannan (365)" userId="4059857b-a82a-4577-ac2c-643e9c05e9a3" providerId="ADAL" clId="{404832C4-EF9D-47E0-A929-2766EC1E0D8E}" dt="2024-11-08T03:41:34.504" v="1257"/>
          <ac:spMkLst>
            <pc:docMk/>
            <pc:sldMk cId="1999281045" sldId="282"/>
            <ac:spMk id="5" creationId="{000229AF-29B0-5263-E456-DD9477DEADC4}"/>
          </ac:spMkLst>
        </pc:spChg>
        <pc:spChg chg="mod">
          <ac:chgData name="S, Varatharaj Kannan (365)" userId="4059857b-a82a-4577-ac2c-643e9c05e9a3" providerId="ADAL" clId="{404832C4-EF9D-47E0-A929-2766EC1E0D8E}" dt="2024-11-08T03:50:43.242" v="1505" actId="1076"/>
          <ac:spMkLst>
            <pc:docMk/>
            <pc:sldMk cId="1999281045" sldId="282"/>
            <ac:spMk id="6" creationId="{1BA1BA42-4B7F-3A23-DA42-4483225DE8E8}"/>
          </ac:spMkLst>
        </pc:spChg>
        <pc:spChg chg="add">
          <ac:chgData name="S, Varatharaj Kannan (365)" userId="4059857b-a82a-4577-ac2c-643e9c05e9a3" providerId="ADAL" clId="{404832C4-EF9D-47E0-A929-2766EC1E0D8E}" dt="2024-11-08T03:43:30.016" v="1303"/>
          <ac:spMkLst>
            <pc:docMk/>
            <pc:sldMk cId="1999281045" sldId="282"/>
            <ac:spMk id="7" creationId="{E836A47B-5731-A528-1F4D-48DD98701F8A}"/>
          </ac:spMkLst>
        </pc:spChg>
        <pc:spChg chg="add">
          <ac:chgData name="S, Varatharaj Kannan (365)" userId="4059857b-a82a-4577-ac2c-643e9c05e9a3" providerId="ADAL" clId="{404832C4-EF9D-47E0-A929-2766EC1E0D8E}" dt="2024-11-08T03:47:08.406" v="1470"/>
          <ac:spMkLst>
            <pc:docMk/>
            <pc:sldMk cId="1999281045" sldId="282"/>
            <ac:spMk id="8" creationId="{A8C8AD6D-DB9E-BA39-92A2-FA67D5E43FC7}"/>
          </ac:spMkLst>
        </pc:spChg>
        <pc:spChg chg="add">
          <ac:chgData name="S, Varatharaj Kannan (365)" userId="4059857b-a82a-4577-ac2c-643e9c05e9a3" providerId="ADAL" clId="{404832C4-EF9D-47E0-A929-2766EC1E0D8E}" dt="2024-11-08T03:48:04.778" v="1476"/>
          <ac:spMkLst>
            <pc:docMk/>
            <pc:sldMk cId="1999281045" sldId="282"/>
            <ac:spMk id="9" creationId="{CC67DB08-364F-C028-8D4B-F13D6F4D4684}"/>
          </ac:spMkLst>
        </pc:spChg>
      </pc:sldChg>
      <pc:sldChg chg="addSp modSp add mod ord">
        <pc:chgData name="S, Varatharaj Kannan (365)" userId="4059857b-a82a-4577-ac2c-643e9c05e9a3" providerId="ADAL" clId="{404832C4-EF9D-47E0-A929-2766EC1E0D8E}" dt="2024-11-08T12:26:11.903" v="4673" actId="1036"/>
        <pc:sldMkLst>
          <pc:docMk/>
          <pc:sldMk cId="3193091568" sldId="283"/>
        </pc:sldMkLst>
        <pc:spChg chg="mod">
          <ac:chgData name="S, Varatharaj Kannan (365)" userId="4059857b-a82a-4577-ac2c-643e9c05e9a3" providerId="ADAL" clId="{404832C4-EF9D-47E0-A929-2766EC1E0D8E}" dt="2024-11-08T12:21:52.047" v="4625" actId="20577"/>
          <ac:spMkLst>
            <pc:docMk/>
            <pc:sldMk cId="3193091568" sldId="283"/>
            <ac:spMk id="2" creationId="{9402D1A5-20B5-CC2D-B791-B1990233BA22}"/>
          </ac:spMkLst>
        </pc:spChg>
        <pc:spChg chg="add">
          <ac:chgData name="S, Varatharaj Kannan (365)" userId="4059857b-a82a-4577-ac2c-643e9c05e9a3" providerId="ADAL" clId="{404832C4-EF9D-47E0-A929-2766EC1E0D8E}" dt="2024-11-08T03:53:00.050" v="1542"/>
          <ac:spMkLst>
            <pc:docMk/>
            <pc:sldMk cId="3193091568" sldId="283"/>
            <ac:spMk id="5" creationId="{0219F508-B1DD-4463-D162-F1B4D0ED7142}"/>
          </ac:spMkLst>
        </pc:spChg>
        <pc:spChg chg="mod">
          <ac:chgData name="S, Varatharaj Kannan (365)" userId="4059857b-a82a-4577-ac2c-643e9c05e9a3" providerId="ADAL" clId="{404832C4-EF9D-47E0-A929-2766EC1E0D8E}" dt="2024-11-08T12:26:11.903" v="4673" actId="1036"/>
          <ac:spMkLst>
            <pc:docMk/>
            <pc:sldMk cId="3193091568" sldId="283"/>
            <ac:spMk id="6" creationId="{1BA1BA42-4B7F-3A23-DA42-4483225DE8E8}"/>
          </ac:spMkLst>
        </pc:spChg>
        <pc:spChg chg="add">
          <ac:chgData name="S, Varatharaj Kannan (365)" userId="4059857b-a82a-4577-ac2c-643e9c05e9a3" providerId="ADAL" clId="{404832C4-EF9D-47E0-A929-2766EC1E0D8E}" dt="2024-11-08T03:53:14.385" v="1547"/>
          <ac:spMkLst>
            <pc:docMk/>
            <pc:sldMk cId="3193091568" sldId="283"/>
            <ac:spMk id="7" creationId="{5A1AFDF5-A748-EEAC-9290-E24D051E40A1}"/>
          </ac:spMkLst>
        </pc:spChg>
        <pc:picChg chg="add mod">
          <ac:chgData name="S, Varatharaj Kannan (365)" userId="4059857b-a82a-4577-ac2c-643e9c05e9a3" providerId="ADAL" clId="{404832C4-EF9D-47E0-A929-2766EC1E0D8E}" dt="2024-11-08T12:25:59.029" v="4663" actId="1076"/>
          <ac:picMkLst>
            <pc:docMk/>
            <pc:sldMk cId="3193091568" sldId="283"/>
            <ac:picMk id="1026" creationId="{A26474A6-419C-59E3-B84C-141C2D0EDB2B}"/>
          </ac:picMkLst>
        </pc:picChg>
        <pc:picChg chg="add mod">
          <ac:chgData name="S, Varatharaj Kannan (365)" userId="4059857b-a82a-4577-ac2c-643e9c05e9a3" providerId="ADAL" clId="{404832C4-EF9D-47E0-A929-2766EC1E0D8E}" dt="2024-11-08T12:26:00.406" v="4664" actId="1076"/>
          <ac:picMkLst>
            <pc:docMk/>
            <pc:sldMk cId="3193091568" sldId="283"/>
            <ac:picMk id="1028" creationId="{A5432B22-45FD-2762-F4EB-AA389DCF2430}"/>
          </ac:picMkLst>
        </pc:picChg>
        <pc:picChg chg="add mod">
          <ac:chgData name="S, Varatharaj Kannan (365)" userId="4059857b-a82a-4577-ac2c-643e9c05e9a3" providerId="ADAL" clId="{404832C4-EF9D-47E0-A929-2766EC1E0D8E}" dt="2024-11-08T12:26:02.020" v="4665" actId="1076"/>
          <ac:picMkLst>
            <pc:docMk/>
            <pc:sldMk cId="3193091568" sldId="283"/>
            <ac:picMk id="1030" creationId="{E36ABFD1-21A7-6161-0BD4-F55A6D2A5B75}"/>
          </ac:picMkLst>
        </pc:picChg>
        <pc:picChg chg="add mod">
          <ac:chgData name="S, Varatharaj Kannan (365)" userId="4059857b-a82a-4577-ac2c-643e9c05e9a3" providerId="ADAL" clId="{404832C4-EF9D-47E0-A929-2766EC1E0D8E}" dt="2024-11-08T12:26:04.017" v="4666" actId="1076"/>
          <ac:picMkLst>
            <pc:docMk/>
            <pc:sldMk cId="3193091568" sldId="283"/>
            <ac:picMk id="1032" creationId="{C77DEAD3-13E2-55AF-8060-5457E8EC16FE}"/>
          </ac:picMkLst>
        </pc:picChg>
        <pc:picChg chg="add mod">
          <ac:chgData name="S, Varatharaj Kannan (365)" userId="4059857b-a82a-4577-ac2c-643e9c05e9a3" providerId="ADAL" clId="{404832C4-EF9D-47E0-A929-2766EC1E0D8E}" dt="2024-11-08T12:26:05.720" v="4667" actId="1076"/>
          <ac:picMkLst>
            <pc:docMk/>
            <pc:sldMk cId="3193091568" sldId="283"/>
            <ac:picMk id="1034" creationId="{4C9418BF-AEC3-77A3-0B2D-75B4AA9F68D5}"/>
          </ac:picMkLst>
        </pc:picChg>
      </pc:sldChg>
      <pc:sldChg chg="addSp delSp modSp new del mod">
        <pc:chgData name="S, Varatharaj Kannan (365)" userId="4059857b-a82a-4577-ac2c-643e9c05e9a3" providerId="ADAL" clId="{404832C4-EF9D-47E0-A929-2766EC1E0D8E}" dt="2024-11-08T06:50:44.197" v="3944" actId="47"/>
        <pc:sldMkLst>
          <pc:docMk/>
          <pc:sldMk cId="473789163" sldId="284"/>
        </pc:sldMkLst>
        <pc:spChg chg="del">
          <ac:chgData name="S, Varatharaj Kannan (365)" userId="4059857b-a82a-4577-ac2c-643e9c05e9a3" providerId="ADAL" clId="{404832C4-EF9D-47E0-A929-2766EC1E0D8E}" dt="2024-11-08T03:55:43.052" v="1579" actId="478"/>
          <ac:spMkLst>
            <pc:docMk/>
            <pc:sldMk cId="473789163" sldId="284"/>
            <ac:spMk id="2" creationId="{F274C7FC-536A-2081-59F3-34DF7DEEA24A}"/>
          </ac:spMkLst>
        </pc:spChg>
        <pc:spChg chg="del">
          <ac:chgData name="S, Varatharaj Kannan (365)" userId="4059857b-a82a-4577-ac2c-643e9c05e9a3" providerId="ADAL" clId="{404832C4-EF9D-47E0-A929-2766EC1E0D8E}" dt="2024-11-08T03:55:43.052" v="1579" actId="478"/>
          <ac:spMkLst>
            <pc:docMk/>
            <pc:sldMk cId="473789163" sldId="284"/>
            <ac:spMk id="3" creationId="{F3C0BDD5-9933-E3BE-4446-916E0C65B08C}"/>
          </ac:spMkLst>
        </pc:spChg>
        <pc:spChg chg="add del">
          <ac:chgData name="S, Varatharaj Kannan (365)" userId="4059857b-a82a-4577-ac2c-643e9c05e9a3" providerId="ADAL" clId="{404832C4-EF9D-47E0-A929-2766EC1E0D8E}" dt="2024-11-08T03:55:49.182" v="1593" actId="478"/>
          <ac:spMkLst>
            <pc:docMk/>
            <pc:sldMk cId="473789163" sldId="284"/>
            <ac:spMk id="5" creationId="{BB70D69D-0975-350B-4AE2-4808C7416D13}"/>
          </ac:spMkLst>
        </pc:spChg>
        <pc:spChg chg="add del">
          <ac:chgData name="S, Varatharaj Kannan (365)" userId="4059857b-a82a-4577-ac2c-643e9c05e9a3" providerId="ADAL" clId="{404832C4-EF9D-47E0-A929-2766EC1E0D8E}" dt="2024-11-08T03:55:54.370" v="1595" actId="478"/>
          <ac:spMkLst>
            <pc:docMk/>
            <pc:sldMk cId="473789163" sldId="284"/>
            <ac:spMk id="6" creationId="{D44A9F50-B5CA-9447-7E57-817671DEAE16}"/>
          </ac:spMkLst>
        </pc:spChg>
        <pc:spChg chg="add mod">
          <ac:chgData name="S, Varatharaj Kannan (365)" userId="4059857b-a82a-4577-ac2c-643e9c05e9a3" providerId="ADAL" clId="{404832C4-EF9D-47E0-A929-2766EC1E0D8E}" dt="2024-11-08T04:00:21.196" v="1641" actId="20577"/>
          <ac:spMkLst>
            <pc:docMk/>
            <pc:sldMk cId="473789163" sldId="284"/>
            <ac:spMk id="17" creationId="{AEF9FBEB-4AB2-75A4-5B9A-A4EAFFBEA284}"/>
          </ac:spMkLst>
        </pc:spChg>
        <pc:graphicFrameChg chg="add mod modVis">
          <ac:chgData name="S, Varatharaj Kannan (365)" userId="4059857b-a82a-4577-ac2c-643e9c05e9a3" providerId="ADAL" clId="{404832C4-EF9D-47E0-A929-2766EC1E0D8E}" dt="2024-11-08T03:55:43.634" v="1591"/>
          <ac:graphicFrameMkLst>
            <pc:docMk/>
            <pc:sldMk cId="473789163" sldId="284"/>
            <ac:graphicFrameMk id="4" creationId="{8E7AE139-A3A6-FE5D-89A2-D74D8B77FD07}"/>
          </ac:graphicFrameMkLst>
        </pc:graphicFrameChg>
        <pc:picChg chg="add del mod">
          <ac:chgData name="S, Varatharaj Kannan (365)" userId="4059857b-a82a-4577-ac2c-643e9c05e9a3" providerId="ADAL" clId="{404832C4-EF9D-47E0-A929-2766EC1E0D8E}" dt="2024-11-08T06:45:02.038" v="3799" actId="478"/>
          <ac:picMkLst>
            <pc:docMk/>
            <pc:sldMk cId="473789163" sldId="284"/>
            <ac:picMk id="8" creationId="{B97D2A51-D102-9E24-DA74-5A05F7F8D586}"/>
          </ac:picMkLst>
        </pc:picChg>
        <pc:picChg chg="add del mod">
          <ac:chgData name="S, Varatharaj Kannan (365)" userId="4059857b-a82a-4577-ac2c-643e9c05e9a3" providerId="ADAL" clId="{404832C4-EF9D-47E0-A929-2766EC1E0D8E}" dt="2024-11-08T06:45:02.038" v="3799" actId="478"/>
          <ac:picMkLst>
            <pc:docMk/>
            <pc:sldMk cId="473789163" sldId="284"/>
            <ac:picMk id="10" creationId="{4A9D310D-D907-08AE-56CE-A5FDD16C31F7}"/>
          </ac:picMkLst>
        </pc:picChg>
        <pc:picChg chg="add del mod">
          <ac:chgData name="S, Varatharaj Kannan (365)" userId="4059857b-a82a-4577-ac2c-643e9c05e9a3" providerId="ADAL" clId="{404832C4-EF9D-47E0-A929-2766EC1E0D8E}" dt="2024-11-08T06:45:02.038" v="3799" actId="478"/>
          <ac:picMkLst>
            <pc:docMk/>
            <pc:sldMk cId="473789163" sldId="284"/>
            <ac:picMk id="12" creationId="{A35CBDBD-7787-C6AA-C42D-55135727F3EA}"/>
          </ac:picMkLst>
        </pc:picChg>
        <pc:picChg chg="add del mod">
          <ac:chgData name="S, Varatharaj Kannan (365)" userId="4059857b-a82a-4577-ac2c-643e9c05e9a3" providerId="ADAL" clId="{404832C4-EF9D-47E0-A929-2766EC1E0D8E}" dt="2024-11-08T04:16:32.110" v="1815" actId="21"/>
          <ac:picMkLst>
            <pc:docMk/>
            <pc:sldMk cId="473789163" sldId="284"/>
            <ac:picMk id="14" creationId="{6CFF0208-445D-00B3-88D4-39515E73BDC9}"/>
          </ac:picMkLst>
        </pc:picChg>
        <pc:picChg chg="add del mod">
          <ac:chgData name="S, Varatharaj Kannan (365)" userId="4059857b-a82a-4577-ac2c-643e9c05e9a3" providerId="ADAL" clId="{404832C4-EF9D-47E0-A929-2766EC1E0D8E}" dt="2024-11-08T06:45:02.038" v="3799" actId="478"/>
          <ac:picMkLst>
            <pc:docMk/>
            <pc:sldMk cId="473789163" sldId="284"/>
            <ac:picMk id="16" creationId="{5C893772-E922-ADE8-A59C-1E2641CFD4B8}"/>
          </ac:picMkLst>
        </pc:picChg>
        <pc:picChg chg="add del mod">
          <ac:chgData name="S, Varatharaj Kannan (365)" userId="4059857b-a82a-4577-ac2c-643e9c05e9a3" providerId="ADAL" clId="{404832C4-EF9D-47E0-A929-2766EC1E0D8E}" dt="2024-11-08T04:09:32.682" v="1729" actId="21"/>
          <ac:picMkLst>
            <pc:docMk/>
            <pc:sldMk cId="473789163" sldId="284"/>
            <ac:picMk id="20" creationId="{C731D317-D04E-0CE3-68D3-73E368BC4A17}"/>
          </ac:picMkLst>
        </pc:picChg>
        <pc:picChg chg="add del mod">
          <ac:chgData name="S, Varatharaj Kannan (365)" userId="4059857b-a82a-4577-ac2c-643e9c05e9a3" providerId="ADAL" clId="{404832C4-EF9D-47E0-A929-2766EC1E0D8E}" dt="2024-11-08T04:09:32.682" v="1729" actId="21"/>
          <ac:picMkLst>
            <pc:docMk/>
            <pc:sldMk cId="473789163" sldId="284"/>
            <ac:picMk id="22" creationId="{DDD472B9-C628-F5CA-C431-00EE5B20EC26}"/>
          </ac:picMkLst>
        </pc:picChg>
        <pc:picChg chg="add del mod">
          <ac:chgData name="S, Varatharaj Kannan (365)" userId="4059857b-a82a-4577-ac2c-643e9c05e9a3" providerId="ADAL" clId="{404832C4-EF9D-47E0-A929-2766EC1E0D8E}" dt="2024-11-08T04:09:32.682" v="1729" actId="21"/>
          <ac:picMkLst>
            <pc:docMk/>
            <pc:sldMk cId="473789163" sldId="284"/>
            <ac:picMk id="24" creationId="{9B203770-BDF6-3F14-EE65-FC4560FA9B84}"/>
          </ac:picMkLst>
        </pc:picChg>
        <pc:picChg chg="add del mod">
          <ac:chgData name="S, Varatharaj Kannan (365)" userId="4059857b-a82a-4577-ac2c-643e9c05e9a3" providerId="ADAL" clId="{404832C4-EF9D-47E0-A929-2766EC1E0D8E}" dt="2024-11-08T04:09:32.682" v="1729" actId="21"/>
          <ac:picMkLst>
            <pc:docMk/>
            <pc:sldMk cId="473789163" sldId="284"/>
            <ac:picMk id="26" creationId="{F5929D05-B688-30CF-29FA-7E4E25FD53F8}"/>
          </ac:picMkLst>
        </pc:picChg>
        <pc:cxnChg chg="add mod">
          <ac:chgData name="S, Varatharaj Kannan (365)" userId="4059857b-a82a-4577-ac2c-643e9c05e9a3" providerId="ADAL" clId="{404832C4-EF9D-47E0-A929-2766EC1E0D8E}" dt="2024-11-08T04:00:01.433" v="1617"/>
          <ac:cxnSpMkLst>
            <pc:docMk/>
            <pc:sldMk cId="473789163" sldId="284"/>
            <ac:cxnSpMk id="18" creationId="{E70E4A21-DDF3-C13D-6FAB-839DA8CCFE4E}"/>
          </ac:cxnSpMkLst>
        </pc:cxnChg>
      </pc:sldChg>
      <pc:sldChg chg="addSp delSp modSp new del mod">
        <pc:chgData name="S, Varatharaj Kannan (365)" userId="4059857b-a82a-4577-ac2c-643e9c05e9a3" providerId="ADAL" clId="{404832C4-EF9D-47E0-A929-2766EC1E0D8E}" dt="2024-11-08T04:16:23.053" v="1812" actId="47"/>
        <pc:sldMkLst>
          <pc:docMk/>
          <pc:sldMk cId="875678076" sldId="285"/>
        </pc:sldMkLst>
        <pc:spChg chg="del">
          <ac:chgData name="S, Varatharaj Kannan (365)" userId="4059857b-a82a-4577-ac2c-643e9c05e9a3" providerId="ADAL" clId="{404832C4-EF9D-47E0-A929-2766EC1E0D8E}" dt="2024-11-08T04:06:48.200" v="1671" actId="478"/>
          <ac:spMkLst>
            <pc:docMk/>
            <pc:sldMk cId="875678076" sldId="285"/>
            <ac:spMk id="2" creationId="{A95F79B0-424E-4BC4-EC59-41A6B04CB92F}"/>
          </ac:spMkLst>
        </pc:spChg>
        <pc:spChg chg="del">
          <ac:chgData name="S, Varatharaj Kannan (365)" userId="4059857b-a82a-4577-ac2c-643e9c05e9a3" providerId="ADAL" clId="{404832C4-EF9D-47E0-A929-2766EC1E0D8E}" dt="2024-11-08T04:06:48.200" v="1671" actId="478"/>
          <ac:spMkLst>
            <pc:docMk/>
            <pc:sldMk cId="875678076" sldId="285"/>
            <ac:spMk id="3" creationId="{933C95CA-80F0-9C17-41BB-916374CFAE5A}"/>
          </ac:spMkLst>
        </pc:spChg>
        <pc:spChg chg="add mod">
          <ac:chgData name="S, Varatharaj Kannan (365)" userId="4059857b-a82a-4577-ac2c-643e9c05e9a3" providerId="ADAL" clId="{404832C4-EF9D-47E0-A929-2766EC1E0D8E}" dt="2024-11-08T04:14:24.909" v="1797" actId="5793"/>
          <ac:spMkLst>
            <pc:docMk/>
            <pc:sldMk cId="875678076" sldId="285"/>
            <ac:spMk id="6" creationId="{A0F02DE8-10F7-38F0-0B69-9D28E0525537}"/>
          </ac:spMkLst>
        </pc:spChg>
        <pc:spChg chg="add mod">
          <ac:chgData name="S, Varatharaj Kannan (365)" userId="4059857b-a82a-4577-ac2c-643e9c05e9a3" providerId="ADAL" clId="{404832C4-EF9D-47E0-A929-2766EC1E0D8E}" dt="2024-11-08T04:13:50.105" v="1784" actId="20577"/>
          <ac:spMkLst>
            <pc:docMk/>
            <pc:sldMk cId="875678076" sldId="285"/>
            <ac:spMk id="7" creationId="{3DDDB6DF-E37A-07C6-82EA-0A4D97772811}"/>
          </ac:spMkLst>
        </pc:spChg>
        <pc:spChg chg="add mod">
          <ac:chgData name="S, Varatharaj Kannan (365)" userId="4059857b-a82a-4577-ac2c-643e9c05e9a3" providerId="ADAL" clId="{404832C4-EF9D-47E0-A929-2766EC1E0D8E}" dt="2024-11-08T04:14:18.364" v="1794" actId="1076"/>
          <ac:spMkLst>
            <pc:docMk/>
            <pc:sldMk cId="875678076" sldId="285"/>
            <ac:spMk id="10" creationId="{3C86D4CF-41B2-00D2-070B-BAEF8333438E}"/>
          </ac:spMkLst>
        </pc:spChg>
        <pc:graphicFrameChg chg="add mod modVis">
          <ac:chgData name="S, Varatharaj Kannan (365)" userId="4059857b-a82a-4577-ac2c-643e9c05e9a3" providerId="ADAL" clId="{404832C4-EF9D-47E0-A929-2766EC1E0D8E}" dt="2024-11-08T04:06:48.736" v="1683"/>
          <ac:graphicFrameMkLst>
            <pc:docMk/>
            <pc:sldMk cId="875678076" sldId="285"/>
            <ac:graphicFrameMk id="4" creationId="{3091BD5C-08D7-195F-FBB2-1B43F88FF44E}"/>
          </ac:graphicFrameMkLst>
        </pc:graphicFrameChg>
        <pc:picChg chg="add mod">
          <ac:chgData name="S, Varatharaj Kannan (365)" userId="4059857b-a82a-4577-ac2c-643e9c05e9a3" providerId="ADAL" clId="{404832C4-EF9D-47E0-A929-2766EC1E0D8E}" dt="2024-11-08T04:13:53.399" v="1785" actId="1076"/>
          <ac:picMkLst>
            <pc:docMk/>
            <pc:sldMk cId="875678076" sldId="285"/>
            <ac:picMk id="20" creationId="{C731D317-D04E-0CE3-68D3-73E368BC4A17}"/>
          </ac:picMkLst>
        </pc:picChg>
        <pc:picChg chg="add mod">
          <ac:chgData name="S, Varatharaj Kannan (365)" userId="4059857b-a82a-4577-ac2c-643e9c05e9a3" providerId="ADAL" clId="{404832C4-EF9D-47E0-A929-2766EC1E0D8E}" dt="2024-11-08T04:13:10.861" v="1759" actId="1076"/>
          <ac:picMkLst>
            <pc:docMk/>
            <pc:sldMk cId="875678076" sldId="285"/>
            <ac:picMk id="22" creationId="{DDD472B9-C628-F5CA-C431-00EE5B20EC26}"/>
          </ac:picMkLst>
        </pc:picChg>
        <pc:picChg chg="add del mod">
          <ac:chgData name="S, Varatharaj Kannan (365)" userId="4059857b-a82a-4577-ac2c-643e9c05e9a3" providerId="ADAL" clId="{404832C4-EF9D-47E0-A929-2766EC1E0D8E}" dt="2024-11-08T04:10:34.707" v="1745" actId="478"/>
          <ac:picMkLst>
            <pc:docMk/>
            <pc:sldMk cId="875678076" sldId="285"/>
            <ac:picMk id="24" creationId="{9B203770-BDF6-3F14-EE65-FC4560FA9B84}"/>
          </ac:picMkLst>
        </pc:picChg>
        <pc:picChg chg="add del mod">
          <ac:chgData name="S, Varatharaj Kannan (365)" userId="4059857b-a82a-4577-ac2c-643e9c05e9a3" providerId="ADAL" clId="{404832C4-EF9D-47E0-A929-2766EC1E0D8E}" dt="2024-11-08T04:10:34.707" v="1745" actId="478"/>
          <ac:picMkLst>
            <pc:docMk/>
            <pc:sldMk cId="875678076" sldId="285"/>
            <ac:picMk id="26" creationId="{F5929D05-B688-30CF-29FA-7E4E25FD53F8}"/>
          </ac:picMkLst>
        </pc:picChg>
        <pc:cxnChg chg="add mod">
          <ac:chgData name="S, Varatharaj Kannan (365)" userId="4059857b-a82a-4577-ac2c-643e9c05e9a3" providerId="ADAL" clId="{404832C4-EF9D-47E0-A929-2766EC1E0D8E}" dt="2024-11-08T04:13:43.081" v="1761"/>
          <ac:cxnSpMkLst>
            <pc:docMk/>
            <pc:sldMk cId="875678076" sldId="285"/>
            <ac:cxnSpMk id="8" creationId="{6A9886BA-7F16-22CA-36A1-FCC7B0C6A66D}"/>
          </ac:cxnSpMkLst>
        </pc:cxnChg>
      </pc:sldChg>
      <pc:sldChg chg="addSp delSp modSp add del mod">
        <pc:chgData name="S, Varatharaj Kannan (365)" userId="4059857b-a82a-4577-ac2c-643e9c05e9a3" providerId="ADAL" clId="{404832C4-EF9D-47E0-A929-2766EC1E0D8E}" dt="2024-11-08T07:02:09.177" v="4047" actId="47"/>
        <pc:sldMkLst>
          <pc:docMk/>
          <pc:sldMk cId="3182343854" sldId="286"/>
        </pc:sldMkLst>
        <pc:spChg chg="add mod">
          <ac:chgData name="S, Varatharaj Kannan (365)" userId="4059857b-a82a-4577-ac2c-643e9c05e9a3" providerId="ADAL" clId="{404832C4-EF9D-47E0-A929-2766EC1E0D8E}" dt="2024-11-08T04:20:51.531" v="1877" actId="14100"/>
          <ac:spMkLst>
            <pc:docMk/>
            <pc:sldMk cId="3182343854" sldId="286"/>
            <ac:spMk id="3" creationId="{EAAB930D-1696-D0F5-670C-08B597F87D77}"/>
          </ac:spMkLst>
        </pc:spChg>
        <pc:spChg chg="add mod">
          <ac:chgData name="S, Varatharaj Kannan (365)" userId="4059857b-a82a-4577-ac2c-643e9c05e9a3" providerId="ADAL" clId="{404832C4-EF9D-47E0-A929-2766EC1E0D8E}" dt="2024-11-08T04:14:47.853" v="1803"/>
          <ac:spMkLst>
            <pc:docMk/>
            <pc:sldMk cId="3182343854" sldId="286"/>
            <ac:spMk id="5" creationId="{932976DF-3044-263A-9DA4-F8E079F6B69C}"/>
          </ac:spMkLst>
        </pc:spChg>
        <pc:spChg chg="mod">
          <ac:chgData name="S, Varatharaj Kannan (365)" userId="4059857b-a82a-4577-ac2c-643e9c05e9a3" providerId="ADAL" clId="{404832C4-EF9D-47E0-A929-2766EC1E0D8E}" dt="2024-11-08T04:20:14.311" v="1865" actId="113"/>
          <ac:spMkLst>
            <pc:docMk/>
            <pc:sldMk cId="3182343854" sldId="286"/>
            <ac:spMk id="6" creationId="{A0F02DE8-10F7-38F0-0B69-9D28E0525537}"/>
          </ac:spMkLst>
        </pc:spChg>
        <pc:picChg chg="del">
          <ac:chgData name="S, Varatharaj Kannan (365)" userId="4059857b-a82a-4577-ac2c-643e9c05e9a3" providerId="ADAL" clId="{404832C4-EF9D-47E0-A929-2766EC1E0D8E}" dt="2024-11-08T04:10:43.966" v="1748" actId="478"/>
          <ac:picMkLst>
            <pc:docMk/>
            <pc:sldMk cId="3182343854" sldId="286"/>
            <ac:picMk id="20" creationId="{C731D317-D04E-0CE3-68D3-73E368BC4A17}"/>
          </ac:picMkLst>
        </pc:picChg>
        <pc:picChg chg="del">
          <ac:chgData name="S, Varatharaj Kannan (365)" userId="4059857b-a82a-4577-ac2c-643e9c05e9a3" providerId="ADAL" clId="{404832C4-EF9D-47E0-A929-2766EC1E0D8E}" dt="2024-11-08T04:10:45.449" v="1749" actId="478"/>
          <ac:picMkLst>
            <pc:docMk/>
            <pc:sldMk cId="3182343854" sldId="286"/>
            <ac:picMk id="22" creationId="{DDD472B9-C628-F5CA-C431-00EE5B20EC26}"/>
          </ac:picMkLst>
        </pc:picChg>
        <pc:picChg chg="mod">
          <ac:chgData name="S, Varatharaj Kannan (365)" userId="4059857b-a82a-4577-ac2c-643e9c05e9a3" providerId="ADAL" clId="{404832C4-EF9D-47E0-A929-2766EC1E0D8E}" dt="2024-11-08T04:19:52.124" v="1855" actId="1076"/>
          <ac:picMkLst>
            <pc:docMk/>
            <pc:sldMk cId="3182343854" sldId="286"/>
            <ac:picMk id="24" creationId="{9B203770-BDF6-3F14-EE65-FC4560FA9B84}"/>
          </ac:picMkLst>
        </pc:picChg>
        <pc:picChg chg="mod">
          <ac:chgData name="S, Varatharaj Kannan (365)" userId="4059857b-a82a-4577-ac2c-643e9c05e9a3" providerId="ADAL" clId="{404832C4-EF9D-47E0-A929-2766EC1E0D8E}" dt="2024-11-08T04:19:55.320" v="1856" actId="1076"/>
          <ac:picMkLst>
            <pc:docMk/>
            <pc:sldMk cId="3182343854" sldId="286"/>
            <ac:picMk id="26" creationId="{F5929D05-B688-30CF-29FA-7E4E25FD53F8}"/>
          </ac:picMkLst>
        </pc:picChg>
        <pc:cxnChg chg="add mod">
          <ac:chgData name="S, Varatharaj Kannan (365)" userId="4059857b-a82a-4577-ac2c-643e9c05e9a3" providerId="ADAL" clId="{404832C4-EF9D-47E0-A929-2766EC1E0D8E}" dt="2024-11-08T04:14:47.853" v="1803"/>
          <ac:cxnSpMkLst>
            <pc:docMk/>
            <pc:sldMk cId="3182343854" sldId="286"/>
            <ac:cxnSpMk id="7" creationId="{4752D0F9-F4B9-36EC-FB6F-C70B3FEFAEE9}"/>
          </ac:cxnSpMkLst>
        </pc:cxnChg>
      </pc:sldChg>
      <pc:sldChg chg="addSp delSp add del mod">
        <pc:chgData name="S, Varatharaj Kannan (365)" userId="4059857b-a82a-4577-ac2c-643e9c05e9a3" providerId="ADAL" clId="{404832C4-EF9D-47E0-A929-2766EC1E0D8E}" dt="2024-11-08T04:15:49.249" v="1810" actId="47"/>
        <pc:sldMkLst>
          <pc:docMk/>
          <pc:sldMk cId="2070819123" sldId="287"/>
        </pc:sldMkLst>
        <pc:spChg chg="add del">
          <ac:chgData name="S, Varatharaj Kannan (365)" userId="4059857b-a82a-4577-ac2c-643e9c05e9a3" providerId="ADAL" clId="{404832C4-EF9D-47E0-A929-2766EC1E0D8E}" dt="2024-11-08T04:15:47.301" v="1809" actId="478"/>
          <ac:spMkLst>
            <pc:docMk/>
            <pc:sldMk cId="2070819123" sldId="287"/>
            <ac:spMk id="3" creationId="{EAAB930D-1696-D0F5-670C-08B597F87D77}"/>
          </ac:spMkLst>
        </pc:spChg>
        <pc:picChg chg="add del">
          <ac:chgData name="S, Varatharaj Kannan (365)" userId="4059857b-a82a-4577-ac2c-643e9c05e9a3" providerId="ADAL" clId="{404832C4-EF9D-47E0-A929-2766EC1E0D8E}" dt="2024-11-08T04:15:47.301" v="1809" actId="478"/>
          <ac:picMkLst>
            <pc:docMk/>
            <pc:sldMk cId="2070819123" sldId="287"/>
            <ac:picMk id="26" creationId="{F5929D05-B688-30CF-29FA-7E4E25FD53F8}"/>
          </ac:picMkLst>
        </pc:picChg>
      </pc:sldChg>
      <pc:sldChg chg="modSp add del mod">
        <pc:chgData name="S, Varatharaj Kannan (365)" userId="4059857b-a82a-4577-ac2c-643e9c05e9a3" providerId="ADAL" clId="{404832C4-EF9D-47E0-A929-2766EC1E0D8E}" dt="2024-11-08T07:02:09.177" v="4047" actId="47"/>
        <pc:sldMkLst>
          <pc:docMk/>
          <pc:sldMk cId="2818844567" sldId="287"/>
        </pc:sldMkLst>
        <pc:spChg chg="mod">
          <ac:chgData name="S, Varatharaj Kannan (365)" userId="4059857b-a82a-4577-ac2c-643e9c05e9a3" providerId="ADAL" clId="{404832C4-EF9D-47E0-A929-2766EC1E0D8E}" dt="2024-11-08T04:19:38.210" v="1850" actId="113"/>
          <ac:spMkLst>
            <pc:docMk/>
            <pc:sldMk cId="2818844567" sldId="287"/>
            <ac:spMk id="6" creationId="{A0F02DE8-10F7-38F0-0B69-9D28E0525537}"/>
          </ac:spMkLst>
        </pc:spChg>
        <pc:spChg chg="mod">
          <ac:chgData name="S, Varatharaj Kannan (365)" userId="4059857b-a82a-4577-ac2c-643e9c05e9a3" providerId="ADAL" clId="{404832C4-EF9D-47E0-A929-2766EC1E0D8E}" dt="2024-11-08T04:19:41.018" v="1852" actId="113"/>
          <ac:spMkLst>
            <pc:docMk/>
            <pc:sldMk cId="2818844567" sldId="287"/>
            <ac:spMk id="10" creationId="{3C86D4CF-41B2-00D2-070B-BAEF8333438E}"/>
          </ac:spMkLst>
        </pc:spChg>
        <pc:picChg chg="mod">
          <ac:chgData name="S, Varatharaj Kannan (365)" userId="4059857b-a82a-4577-ac2c-643e9c05e9a3" providerId="ADAL" clId="{404832C4-EF9D-47E0-A929-2766EC1E0D8E}" dt="2024-11-08T04:19:45.600" v="1854" actId="1076"/>
          <ac:picMkLst>
            <pc:docMk/>
            <pc:sldMk cId="2818844567" sldId="287"/>
            <ac:picMk id="20" creationId="{C731D317-D04E-0CE3-68D3-73E368BC4A17}"/>
          </ac:picMkLst>
        </pc:picChg>
        <pc:picChg chg="mod">
          <ac:chgData name="S, Varatharaj Kannan (365)" userId="4059857b-a82a-4577-ac2c-643e9c05e9a3" providerId="ADAL" clId="{404832C4-EF9D-47E0-A929-2766EC1E0D8E}" dt="2024-11-08T04:19:43.897" v="1853" actId="1076"/>
          <ac:picMkLst>
            <pc:docMk/>
            <pc:sldMk cId="2818844567" sldId="287"/>
            <ac:picMk id="22" creationId="{DDD472B9-C628-F5CA-C431-00EE5B20EC26}"/>
          </ac:picMkLst>
        </pc:picChg>
      </pc:sldChg>
      <pc:sldChg chg="addSp delSp modSp add del mod">
        <pc:chgData name="S, Varatharaj Kannan (365)" userId="4059857b-a82a-4577-ac2c-643e9c05e9a3" providerId="ADAL" clId="{404832C4-EF9D-47E0-A929-2766EC1E0D8E}" dt="2024-11-08T06:49:39.230" v="3943" actId="47"/>
        <pc:sldMkLst>
          <pc:docMk/>
          <pc:sldMk cId="3801696297" sldId="288"/>
        </pc:sldMkLst>
        <pc:spChg chg="del">
          <ac:chgData name="S, Varatharaj Kannan (365)" userId="4059857b-a82a-4577-ac2c-643e9c05e9a3" providerId="ADAL" clId="{404832C4-EF9D-47E0-A929-2766EC1E0D8E}" dt="2024-11-08T04:16:29.983" v="1814" actId="478"/>
          <ac:spMkLst>
            <pc:docMk/>
            <pc:sldMk cId="3801696297" sldId="288"/>
            <ac:spMk id="3" creationId="{EAAB930D-1696-D0F5-670C-08B597F87D77}"/>
          </ac:spMkLst>
        </pc:spChg>
        <pc:spChg chg="del">
          <ac:chgData name="S, Varatharaj Kannan (365)" userId="4059857b-a82a-4577-ac2c-643e9c05e9a3" providerId="ADAL" clId="{404832C4-EF9D-47E0-A929-2766EC1E0D8E}" dt="2024-11-08T04:16:29.983" v="1814" actId="478"/>
          <ac:spMkLst>
            <pc:docMk/>
            <pc:sldMk cId="3801696297" sldId="288"/>
            <ac:spMk id="6" creationId="{A0F02DE8-10F7-38F0-0B69-9D28E0525537}"/>
          </ac:spMkLst>
        </pc:spChg>
        <pc:spChg chg="add del mod">
          <ac:chgData name="S, Varatharaj Kannan (365)" userId="4059857b-a82a-4577-ac2c-643e9c05e9a3" providerId="ADAL" clId="{404832C4-EF9D-47E0-A929-2766EC1E0D8E}" dt="2024-11-08T04:16:49.130" v="1821" actId="22"/>
          <ac:spMkLst>
            <pc:docMk/>
            <pc:sldMk cId="3801696297" sldId="288"/>
            <ac:spMk id="8" creationId="{E1DBF8F9-DEEA-EFD4-FDB4-1F84E0808296}"/>
          </ac:spMkLst>
        </pc:spChg>
        <pc:spChg chg="add del">
          <ac:chgData name="S, Varatharaj Kannan (365)" userId="4059857b-a82a-4577-ac2c-643e9c05e9a3" providerId="ADAL" clId="{404832C4-EF9D-47E0-A929-2766EC1E0D8E}" dt="2024-11-08T04:16:53.010" v="1823" actId="22"/>
          <ac:spMkLst>
            <pc:docMk/>
            <pc:sldMk cId="3801696297" sldId="288"/>
            <ac:spMk id="10" creationId="{36D5201E-1DBA-73A7-8C54-5619FB21C31D}"/>
          </ac:spMkLst>
        </pc:spChg>
        <pc:spChg chg="add mod">
          <ac:chgData name="S, Varatharaj Kannan (365)" userId="4059857b-a82a-4577-ac2c-643e9c05e9a3" providerId="ADAL" clId="{404832C4-EF9D-47E0-A929-2766EC1E0D8E}" dt="2024-11-08T04:20:35.354" v="1875" actId="113"/>
          <ac:spMkLst>
            <pc:docMk/>
            <pc:sldMk cId="3801696297" sldId="288"/>
            <ac:spMk id="12" creationId="{4388AF66-B0D0-7168-CF02-6471E9E41F47}"/>
          </ac:spMkLst>
        </pc:spChg>
        <pc:picChg chg="add mod">
          <ac:chgData name="S, Varatharaj Kannan (365)" userId="4059857b-a82a-4577-ac2c-643e9c05e9a3" providerId="ADAL" clId="{404832C4-EF9D-47E0-A929-2766EC1E0D8E}" dt="2024-11-08T04:20:37.382" v="1876" actId="1076"/>
          <ac:picMkLst>
            <pc:docMk/>
            <pc:sldMk cId="3801696297" sldId="288"/>
            <ac:picMk id="14" creationId="{6CFF0208-445D-00B3-88D4-39515E73BDC9}"/>
          </ac:picMkLst>
        </pc:picChg>
        <pc:picChg chg="del">
          <ac:chgData name="S, Varatharaj Kannan (365)" userId="4059857b-a82a-4577-ac2c-643e9c05e9a3" providerId="ADAL" clId="{404832C4-EF9D-47E0-A929-2766EC1E0D8E}" dt="2024-11-08T04:16:29.983" v="1814" actId="478"/>
          <ac:picMkLst>
            <pc:docMk/>
            <pc:sldMk cId="3801696297" sldId="288"/>
            <ac:picMk id="24" creationId="{9B203770-BDF6-3F14-EE65-FC4560FA9B84}"/>
          </ac:picMkLst>
        </pc:picChg>
        <pc:picChg chg="del">
          <ac:chgData name="S, Varatharaj Kannan (365)" userId="4059857b-a82a-4577-ac2c-643e9c05e9a3" providerId="ADAL" clId="{404832C4-EF9D-47E0-A929-2766EC1E0D8E}" dt="2024-11-08T04:16:29.983" v="1814" actId="478"/>
          <ac:picMkLst>
            <pc:docMk/>
            <pc:sldMk cId="3801696297" sldId="288"/>
            <ac:picMk id="26" creationId="{F5929D05-B688-30CF-29FA-7E4E25FD53F8}"/>
          </ac:picMkLst>
        </pc:picChg>
      </pc:sldChg>
      <pc:sldChg chg="addSp delSp modSp add mod">
        <pc:chgData name="S, Varatharaj Kannan (365)" userId="4059857b-a82a-4577-ac2c-643e9c05e9a3" providerId="ADAL" clId="{404832C4-EF9D-47E0-A929-2766EC1E0D8E}" dt="2024-11-08T08:02:43.177" v="4280" actId="1076"/>
        <pc:sldMkLst>
          <pc:docMk/>
          <pc:sldMk cId="911380331" sldId="289"/>
        </pc:sldMkLst>
        <pc:spChg chg="mod ord">
          <ac:chgData name="S, Varatharaj Kannan (365)" userId="4059857b-a82a-4577-ac2c-643e9c05e9a3" providerId="ADAL" clId="{404832C4-EF9D-47E0-A929-2766EC1E0D8E}" dt="2024-11-08T07:59:19.931" v="4220"/>
          <ac:spMkLst>
            <pc:docMk/>
            <pc:sldMk cId="911380331" sldId="289"/>
            <ac:spMk id="2" creationId="{BC72F454-9879-0A53-62D7-30415546D668}"/>
          </ac:spMkLst>
        </pc:spChg>
        <pc:spChg chg="mod ord">
          <ac:chgData name="S, Varatharaj Kannan (365)" userId="4059857b-a82a-4577-ac2c-643e9c05e9a3" providerId="ADAL" clId="{404832C4-EF9D-47E0-A929-2766EC1E0D8E}" dt="2024-11-08T08:01:42.581" v="4267" actId="20577"/>
          <ac:spMkLst>
            <pc:docMk/>
            <pc:sldMk cId="911380331" sldId="289"/>
            <ac:spMk id="6" creationId="{E316BF26-46D1-685E-A3DD-06228762E26C}"/>
          </ac:spMkLst>
        </pc:spChg>
        <pc:graphicFrameChg chg="mod">
          <ac:chgData name="S, Varatharaj Kannan (365)" userId="4059857b-a82a-4577-ac2c-643e9c05e9a3" providerId="ADAL" clId="{404832C4-EF9D-47E0-A929-2766EC1E0D8E}" dt="2024-11-08T04:32:07.086" v="2079"/>
          <ac:graphicFrameMkLst>
            <pc:docMk/>
            <pc:sldMk cId="911380331" sldId="289"/>
            <ac:graphicFrameMk id="4" creationId="{9FE3467B-F08E-321C-2392-1F6CF9B7971B}"/>
          </ac:graphicFrameMkLst>
        </pc:graphicFrameChg>
        <pc:picChg chg="add mod">
          <ac:chgData name="S, Varatharaj Kannan (365)" userId="4059857b-a82a-4577-ac2c-643e9c05e9a3" providerId="ADAL" clId="{404832C4-EF9D-47E0-A929-2766EC1E0D8E}" dt="2024-11-08T08:01:49.398" v="4270" actId="1076"/>
          <ac:picMkLst>
            <pc:docMk/>
            <pc:sldMk cId="911380331" sldId="289"/>
            <ac:picMk id="10242" creationId="{9A417493-A1B9-517F-A3D8-66C8B0A7DEB3}"/>
          </ac:picMkLst>
        </pc:picChg>
        <pc:picChg chg="add del mod">
          <ac:chgData name="S, Varatharaj Kannan (365)" userId="4059857b-a82a-4577-ac2c-643e9c05e9a3" providerId="ADAL" clId="{404832C4-EF9D-47E0-A929-2766EC1E0D8E}" dt="2024-11-08T04:32:11.193" v="2081" actId="478"/>
          <ac:picMkLst>
            <pc:docMk/>
            <pc:sldMk cId="911380331" sldId="289"/>
            <ac:picMk id="10244" creationId="{D49400BB-D8FC-3C5E-540A-4D35FA45B8A1}"/>
          </ac:picMkLst>
        </pc:picChg>
        <pc:picChg chg="add del mod">
          <ac:chgData name="S, Varatharaj Kannan (365)" userId="4059857b-a82a-4577-ac2c-643e9c05e9a3" providerId="ADAL" clId="{404832C4-EF9D-47E0-A929-2766EC1E0D8E}" dt="2024-11-08T04:32:09.086" v="2080" actId="478"/>
          <ac:picMkLst>
            <pc:docMk/>
            <pc:sldMk cId="911380331" sldId="289"/>
            <ac:picMk id="10246" creationId="{3C9F8092-0AC3-4516-8E1E-957E9DAD6290}"/>
          </ac:picMkLst>
        </pc:picChg>
        <pc:picChg chg="add mod">
          <ac:chgData name="S, Varatharaj Kannan (365)" userId="4059857b-a82a-4577-ac2c-643e9c05e9a3" providerId="ADAL" clId="{404832C4-EF9D-47E0-A929-2766EC1E0D8E}" dt="2024-11-08T08:01:53.115" v="4273" actId="1076"/>
          <ac:picMkLst>
            <pc:docMk/>
            <pc:sldMk cId="911380331" sldId="289"/>
            <ac:picMk id="10248" creationId="{D6DB1521-FA24-10A8-B2AD-F5610FCD83E0}"/>
          </ac:picMkLst>
        </pc:picChg>
        <pc:picChg chg="add mod">
          <ac:chgData name="S, Varatharaj Kannan (365)" userId="4059857b-a82a-4577-ac2c-643e9c05e9a3" providerId="ADAL" clId="{404832C4-EF9D-47E0-A929-2766EC1E0D8E}" dt="2024-11-08T08:02:01.859" v="4277"/>
          <ac:picMkLst>
            <pc:docMk/>
            <pc:sldMk cId="911380331" sldId="289"/>
            <ac:picMk id="10250" creationId="{1DD5A42F-A709-E385-8AE1-53A825474B35}"/>
          </ac:picMkLst>
        </pc:picChg>
        <pc:picChg chg="add mod">
          <ac:chgData name="S, Varatharaj Kannan (365)" userId="4059857b-a82a-4577-ac2c-643e9c05e9a3" providerId="ADAL" clId="{404832C4-EF9D-47E0-A929-2766EC1E0D8E}" dt="2024-11-08T08:02:43.177" v="4280" actId="1076"/>
          <ac:picMkLst>
            <pc:docMk/>
            <pc:sldMk cId="911380331" sldId="289"/>
            <ac:picMk id="12290" creationId="{C2E25040-74E3-FD53-8B5D-241506C025CF}"/>
          </ac:picMkLst>
        </pc:picChg>
        <pc:cxnChg chg="mod ord">
          <ac:chgData name="S, Varatharaj Kannan (365)" userId="4059857b-a82a-4577-ac2c-643e9c05e9a3" providerId="ADAL" clId="{404832C4-EF9D-47E0-A929-2766EC1E0D8E}" dt="2024-11-08T04:32:07.086" v="2073"/>
          <ac:cxnSpMkLst>
            <pc:docMk/>
            <pc:sldMk cId="911380331" sldId="289"/>
            <ac:cxnSpMk id="3" creationId="{E125CFD9-EC81-DA5A-BD69-0853CA046E36}"/>
          </ac:cxnSpMkLst>
        </pc:cxnChg>
      </pc:sldChg>
      <pc:sldChg chg="addSp modSp add mod">
        <pc:chgData name="S, Varatharaj Kannan (365)" userId="4059857b-a82a-4577-ac2c-643e9c05e9a3" providerId="ADAL" clId="{404832C4-EF9D-47E0-A929-2766EC1E0D8E}" dt="2024-11-08T05:46:42.054" v="2805" actId="1076"/>
        <pc:sldMkLst>
          <pc:docMk/>
          <pc:sldMk cId="995824213" sldId="290"/>
        </pc:sldMkLst>
        <pc:spChg chg="add mod">
          <ac:chgData name="S, Varatharaj Kannan (365)" userId="4059857b-a82a-4577-ac2c-643e9c05e9a3" providerId="ADAL" clId="{404832C4-EF9D-47E0-A929-2766EC1E0D8E}" dt="2024-11-08T05:45:44.377" v="2798" actId="20577"/>
          <ac:spMkLst>
            <pc:docMk/>
            <pc:sldMk cId="995824213" sldId="290"/>
            <ac:spMk id="2" creationId="{B11A63B7-B103-E699-9442-41EB31DDF184}"/>
          </ac:spMkLst>
        </pc:spChg>
        <pc:picChg chg="add mod">
          <ac:chgData name="S, Varatharaj Kannan (365)" userId="4059857b-a82a-4577-ac2c-643e9c05e9a3" providerId="ADAL" clId="{404832C4-EF9D-47E0-A929-2766EC1E0D8E}" dt="2024-11-08T05:46:21.038" v="2802" actId="1076"/>
          <ac:picMkLst>
            <pc:docMk/>
            <pc:sldMk cId="995824213" sldId="290"/>
            <ac:picMk id="6146" creationId="{63CD16ED-30E5-2F28-ED2C-232E7A5CBC2F}"/>
          </ac:picMkLst>
        </pc:picChg>
        <pc:picChg chg="add mod">
          <ac:chgData name="S, Varatharaj Kannan (365)" userId="4059857b-a82a-4577-ac2c-643e9c05e9a3" providerId="ADAL" clId="{404832C4-EF9D-47E0-A929-2766EC1E0D8E}" dt="2024-11-08T05:46:42.054" v="2805" actId="1076"/>
          <ac:picMkLst>
            <pc:docMk/>
            <pc:sldMk cId="995824213" sldId="290"/>
            <ac:picMk id="6148" creationId="{0C58A53F-CA6A-D302-48BD-A5BAD978DF33}"/>
          </ac:picMkLst>
        </pc:picChg>
      </pc:sldChg>
      <pc:sldChg chg="addSp delSp modSp add mod">
        <pc:chgData name="S, Varatharaj Kannan (365)" userId="4059857b-a82a-4577-ac2c-643e9c05e9a3" providerId="ADAL" clId="{404832C4-EF9D-47E0-A929-2766EC1E0D8E}" dt="2024-11-08T07:15:50.741" v="4214" actId="120"/>
        <pc:sldMkLst>
          <pc:docMk/>
          <pc:sldMk cId="2313963849" sldId="291"/>
        </pc:sldMkLst>
        <pc:spChg chg="add mod">
          <ac:chgData name="S, Varatharaj Kannan (365)" userId="4059857b-a82a-4577-ac2c-643e9c05e9a3" providerId="ADAL" clId="{404832C4-EF9D-47E0-A929-2766EC1E0D8E}" dt="2024-11-08T07:10:03.571" v="4137" actId="20577"/>
          <ac:spMkLst>
            <pc:docMk/>
            <pc:sldMk cId="2313963849" sldId="291"/>
            <ac:spMk id="2" creationId="{60FD683E-B652-637F-650A-F1D2CC5EBA63}"/>
          </ac:spMkLst>
        </pc:spChg>
        <pc:spChg chg="add del mod">
          <ac:chgData name="S, Varatharaj Kannan (365)" userId="4059857b-a82a-4577-ac2c-643e9c05e9a3" providerId="ADAL" clId="{404832C4-EF9D-47E0-A929-2766EC1E0D8E}" dt="2024-11-08T07:14:51.203" v="4193" actId="478"/>
          <ac:spMkLst>
            <pc:docMk/>
            <pc:sldMk cId="2313963849" sldId="291"/>
            <ac:spMk id="6" creationId="{19D88B76-39F6-E770-1092-4D55D831700E}"/>
          </ac:spMkLst>
        </pc:spChg>
        <pc:spChg chg="add del mod">
          <ac:chgData name="S, Varatharaj Kannan (365)" userId="4059857b-a82a-4577-ac2c-643e9c05e9a3" providerId="ADAL" clId="{404832C4-EF9D-47E0-A929-2766EC1E0D8E}" dt="2024-11-08T07:12:15.236" v="4185" actId="478"/>
          <ac:spMkLst>
            <pc:docMk/>
            <pc:sldMk cId="2313963849" sldId="291"/>
            <ac:spMk id="7" creationId="{6C1ADD19-0AEB-F3BC-2303-BF162D31F8BF}"/>
          </ac:spMkLst>
        </pc:spChg>
        <pc:spChg chg="add del">
          <ac:chgData name="S, Varatharaj Kannan (365)" userId="4059857b-a82a-4577-ac2c-643e9c05e9a3" providerId="ADAL" clId="{404832C4-EF9D-47E0-A929-2766EC1E0D8E}" dt="2024-11-08T07:12:39.072" v="4189" actId="478"/>
          <ac:spMkLst>
            <pc:docMk/>
            <pc:sldMk cId="2313963849" sldId="291"/>
            <ac:spMk id="8" creationId="{8FD06275-8A47-60EA-68BB-2096592D335A}"/>
          </ac:spMkLst>
        </pc:spChg>
        <pc:graphicFrameChg chg="add mod modGraphic">
          <ac:chgData name="S, Varatharaj Kannan (365)" userId="4059857b-a82a-4577-ac2c-643e9c05e9a3" providerId="ADAL" clId="{404832C4-EF9D-47E0-A929-2766EC1E0D8E}" dt="2024-11-08T07:15:50.741" v="4214" actId="120"/>
          <ac:graphicFrameMkLst>
            <pc:docMk/>
            <pc:sldMk cId="2313963849" sldId="291"/>
            <ac:graphicFrameMk id="9" creationId="{A9D2D05C-EC33-8CB5-6371-42C50A7FD302}"/>
          </ac:graphicFrameMkLst>
        </pc:graphicFrameChg>
        <pc:cxnChg chg="add mod">
          <ac:chgData name="S, Varatharaj Kannan (365)" userId="4059857b-a82a-4577-ac2c-643e9c05e9a3" providerId="ADAL" clId="{404832C4-EF9D-47E0-A929-2766EC1E0D8E}" dt="2024-11-08T05:47:28.225" v="2806"/>
          <ac:cxnSpMkLst>
            <pc:docMk/>
            <pc:sldMk cId="2313963849" sldId="291"/>
            <ac:cxnSpMk id="3" creationId="{BAB3E95E-A1E3-2B24-4575-2563230DBE56}"/>
          </ac:cxnSpMkLst>
        </pc:cxnChg>
      </pc:sldChg>
      <pc:sldChg chg="addSp modSp add del">
        <pc:chgData name="S, Varatharaj Kannan (365)" userId="4059857b-a82a-4577-ac2c-643e9c05e9a3" providerId="ADAL" clId="{404832C4-EF9D-47E0-A929-2766EC1E0D8E}" dt="2024-11-08T07:08:04.237" v="4095" actId="47"/>
        <pc:sldMkLst>
          <pc:docMk/>
          <pc:sldMk cId="1288237239" sldId="292"/>
        </pc:sldMkLst>
        <pc:spChg chg="add mod">
          <ac:chgData name="S, Varatharaj Kannan (365)" userId="4059857b-a82a-4577-ac2c-643e9c05e9a3" providerId="ADAL" clId="{404832C4-EF9D-47E0-A929-2766EC1E0D8E}" dt="2024-11-08T05:51:28.407" v="2940"/>
          <ac:spMkLst>
            <pc:docMk/>
            <pc:sldMk cId="1288237239" sldId="292"/>
            <ac:spMk id="2" creationId="{B478FB0B-95AD-2530-5499-E9FAD69F5B90}"/>
          </ac:spMkLst>
        </pc:spChg>
        <pc:spChg chg="add mod">
          <ac:chgData name="S, Varatharaj Kannan (365)" userId="4059857b-a82a-4577-ac2c-643e9c05e9a3" providerId="ADAL" clId="{404832C4-EF9D-47E0-A929-2766EC1E0D8E}" dt="2024-11-08T05:51:28.407" v="2940"/>
          <ac:spMkLst>
            <pc:docMk/>
            <pc:sldMk cId="1288237239" sldId="292"/>
            <ac:spMk id="5" creationId="{FA2B44B8-779D-EE35-A101-3D4E4FB9830B}"/>
          </ac:spMkLst>
        </pc:spChg>
        <pc:cxnChg chg="add mod">
          <ac:chgData name="S, Varatharaj Kannan (365)" userId="4059857b-a82a-4577-ac2c-643e9c05e9a3" providerId="ADAL" clId="{404832C4-EF9D-47E0-A929-2766EC1E0D8E}" dt="2024-11-08T05:51:28.407" v="2940"/>
          <ac:cxnSpMkLst>
            <pc:docMk/>
            <pc:sldMk cId="1288237239" sldId="292"/>
            <ac:cxnSpMk id="3" creationId="{D9BDA764-E53C-A376-3816-CF42CDF84D5B}"/>
          </ac:cxnSpMkLst>
        </pc:cxnChg>
      </pc:sldChg>
      <pc:sldChg chg="add del">
        <pc:chgData name="S, Varatharaj Kannan (365)" userId="4059857b-a82a-4577-ac2c-643e9c05e9a3" providerId="ADAL" clId="{404832C4-EF9D-47E0-A929-2766EC1E0D8E}" dt="2024-11-08T07:11:35.090" v="4165" actId="47"/>
        <pc:sldMkLst>
          <pc:docMk/>
          <pc:sldMk cId="3253009079" sldId="293"/>
        </pc:sldMkLst>
      </pc:sldChg>
      <pc:sldChg chg="addSp add mod">
        <pc:chgData name="S, Varatharaj Kannan (365)" userId="4059857b-a82a-4577-ac2c-643e9c05e9a3" providerId="ADAL" clId="{404832C4-EF9D-47E0-A929-2766EC1E0D8E}" dt="2024-11-08T12:10:02.741" v="4502" actId="22"/>
        <pc:sldMkLst>
          <pc:docMk/>
          <pc:sldMk cId="1342683707" sldId="294"/>
        </pc:sldMkLst>
        <pc:picChg chg="add">
          <ac:chgData name="S, Varatharaj Kannan (365)" userId="4059857b-a82a-4577-ac2c-643e9c05e9a3" providerId="ADAL" clId="{404832C4-EF9D-47E0-A929-2766EC1E0D8E}" dt="2024-11-08T12:10:02.741" v="4502" actId="22"/>
          <ac:picMkLst>
            <pc:docMk/>
            <pc:sldMk cId="1342683707" sldId="294"/>
            <ac:picMk id="3" creationId="{943B542E-0990-FA73-1A76-001F247EB93B}"/>
          </ac:picMkLst>
        </pc:picChg>
      </pc:sldChg>
      <pc:sldChg chg="add del">
        <pc:chgData name="S, Varatharaj Kannan (365)" userId="4059857b-a82a-4577-ac2c-643e9c05e9a3" providerId="ADAL" clId="{404832C4-EF9D-47E0-A929-2766EC1E0D8E}" dt="2024-11-08T07:15:56.462" v="4215" actId="47"/>
        <pc:sldMkLst>
          <pc:docMk/>
          <pc:sldMk cId="3374009944" sldId="295"/>
        </pc:sldMkLst>
      </pc:sldChg>
      <pc:sldChg chg="addSp delSp modSp add mod ord">
        <pc:chgData name="S, Varatharaj Kannan (365)" userId="4059857b-a82a-4577-ac2c-643e9c05e9a3" providerId="ADAL" clId="{404832C4-EF9D-47E0-A929-2766EC1E0D8E}" dt="2024-11-08T12:21:33.466" v="4613" actId="20577"/>
        <pc:sldMkLst>
          <pc:docMk/>
          <pc:sldMk cId="2772395928" sldId="296"/>
        </pc:sldMkLst>
        <pc:spChg chg="mod">
          <ac:chgData name="S, Varatharaj Kannan (365)" userId="4059857b-a82a-4577-ac2c-643e9c05e9a3" providerId="ADAL" clId="{404832C4-EF9D-47E0-A929-2766EC1E0D8E}" dt="2024-11-08T12:21:33.466" v="4613" actId="20577"/>
          <ac:spMkLst>
            <pc:docMk/>
            <pc:sldMk cId="2772395928" sldId="296"/>
            <ac:spMk id="2" creationId="{87F4D7C0-A761-F951-14D4-67BE94CE3E71}"/>
          </ac:spMkLst>
        </pc:spChg>
        <pc:spChg chg="del">
          <ac:chgData name="S, Varatharaj Kannan (365)" userId="4059857b-a82a-4577-ac2c-643e9c05e9a3" providerId="ADAL" clId="{404832C4-EF9D-47E0-A929-2766EC1E0D8E}" dt="2024-11-08T05:33:47.908" v="2425" actId="478"/>
          <ac:spMkLst>
            <pc:docMk/>
            <pc:sldMk cId="2772395928" sldId="296"/>
            <ac:spMk id="5" creationId="{2E4D2378-AA28-F835-4ADA-6BFE5CEE72D3}"/>
          </ac:spMkLst>
        </pc:spChg>
        <pc:graphicFrameChg chg="add mod modGraphic">
          <ac:chgData name="S, Varatharaj Kannan (365)" userId="4059857b-a82a-4577-ac2c-643e9c05e9a3" providerId="ADAL" clId="{404832C4-EF9D-47E0-A929-2766EC1E0D8E}" dt="2024-11-08T05:45:00.704" v="2765" actId="14734"/>
          <ac:graphicFrameMkLst>
            <pc:docMk/>
            <pc:sldMk cId="2772395928" sldId="296"/>
            <ac:graphicFrameMk id="6" creationId="{E9A45EDF-93D9-E40C-C4EC-8C1732B6DBCC}"/>
          </ac:graphicFrameMkLst>
        </pc:graphicFrameChg>
      </pc:sldChg>
      <pc:sldChg chg="delSp modSp add mod ord">
        <pc:chgData name="S, Varatharaj Kannan (365)" userId="4059857b-a82a-4577-ac2c-643e9c05e9a3" providerId="ADAL" clId="{404832C4-EF9D-47E0-A929-2766EC1E0D8E}" dt="2024-11-08T12:21:37.028" v="4617" actId="20577"/>
        <pc:sldMkLst>
          <pc:docMk/>
          <pc:sldMk cId="2700136186" sldId="297"/>
        </pc:sldMkLst>
        <pc:spChg chg="mod">
          <ac:chgData name="S, Varatharaj Kannan (365)" userId="4059857b-a82a-4577-ac2c-643e9c05e9a3" providerId="ADAL" clId="{404832C4-EF9D-47E0-A929-2766EC1E0D8E}" dt="2024-11-08T12:21:37.028" v="4617" actId="20577"/>
          <ac:spMkLst>
            <pc:docMk/>
            <pc:sldMk cId="2700136186" sldId="297"/>
            <ac:spMk id="2" creationId="{87F4D7C0-A761-F951-14D4-67BE94CE3E71}"/>
          </ac:spMkLst>
        </pc:spChg>
        <pc:spChg chg="del">
          <ac:chgData name="S, Varatharaj Kannan (365)" userId="4059857b-a82a-4577-ac2c-643e9c05e9a3" providerId="ADAL" clId="{404832C4-EF9D-47E0-A929-2766EC1E0D8E}" dt="2024-11-08T05:40:56.344" v="2707" actId="478"/>
          <ac:spMkLst>
            <pc:docMk/>
            <pc:sldMk cId="2700136186" sldId="297"/>
            <ac:spMk id="5" creationId="{2E4D2378-AA28-F835-4ADA-6BFE5CEE72D3}"/>
          </ac:spMkLst>
        </pc:spChg>
        <pc:graphicFrameChg chg="mod modGraphic">
          <ac:chgData name="S, Varatharaj Kannan (365)" userId="4059857b-a82a-4577-ac2c-643e9c05e9a3" providerId="ADAL" clId="{404832C4-EF9D-47E0-A929-2766EC1E0D8E}" dt="2024-11-08T07:05:17.808" v="4091" actId="20577"/>
          <ac:graphicFrameMkLst>
            <pc:docMk/>
            <pc:sldMk cId="2700136186" sldId="297"/>
            <ac:graphicFrameMk id="6" creationId="{DF36A2A7-7E51-D085-1161-E7162B045661}"/>
          </ac:graphicFrameMkLst>
        </pc:graphicFrameChg>
      </pc:sldChg>
      <pc:sldChg chg="addSp modSp add del mod">
        <pc:chgData name="S, Varatharaj Kannan (365)" userId="4059857b-a82a-4577-ac2c-643e9c05e9a3" providerId="ADAL" clId="{404832C4-EF9D-47E0-A929-2766EC1E0D8E}" dt="2024-11-08T07:11:34.571" v="4164" actId="47"/>
        <pc:sldMkLst>
          <pc:docMk/>
          <pc:sldMk cId="215303834" sldId="298"/>
        </pc:sldMkLst>
        <pc:spChg chg="mod">
          <ac:chgData name="S, Varatharaj Kannan (365)" userId="4059857b-a82a-4577-ac2c-643e9c05e9a3" providerId="ADAL" clId="{404832C4-EF9D-47E0-A929-2766EC1E0D8E}" dt="2024-11-08T05:49:48.455" v="2856" actId="14100"/>
          <ac:spMkLst>
            <pc:docMk/>
            <pc:sldMk cId="215303834" sldId="298"/>
            <ac:spMk id="2" creationId="{60FD683E-B652-637F-650A-F1D2CC5EBA63}"/>
          </ac:spMkLst>
        </pc:spChg>
        <pc:spChg chg="add">
          <ac:chgData name="S, Varatharaj Kannan (365)" userId="4059857b-a82a-4577-ac2c-643e9c05e9a3" providerId="ADAL" clId="{404832C4-EF9D-47E0-A929-2766EC1E0D8E}" dt="2024-11-08T05:49:38.183" v="2853"/>
          <ac:spMkLst>
            <pc:docMk/>
            <pc:sldMk cId="215303834" sldId="298"/>
            <ac:spMk id="5" creationId="{169E87C5-0B1C-C391-3004-6928ADC31F02}"/>
          </ac:spMkLst>
        </pc:spChg>
        <pc:spChg chg="mod">
          <ac:chgData name="S, Varatharaj Kannan (365)" userId="4059857b-a82a-4577-ac2c-643e9c05e9a3" providerId="ADAL" clId="{404832C4-EF9D-47E0-A929-2766EC1E0D8E}" dt="2024-11-08T07:08:23.066" v="4098" actId="2710"/>
          <ac:spMkLst>
            <pc:docMk/>
            <pc:sldMk cId="215303834" sldId="298"/>
            <ac:spMk id="6" creationId="{19D88B76-39F6-E770-1092-4D55D831700E}"/>
          </ac:spMkLst>
        </pc:spChg>
        <pc:spChg chg="add mod">
          <ac:chgData name="S, Varatharaj Kannan (365)" userId="4059857b-a82a-4577-ac2c-643e9c05e9a3" providerId="ADAL" clId="{404832C4-EF9D-47E0-A929-2766EC1E0D8E}" dt="2024-11-08T05:51:08.755" v="2938" actId="33524"/>
          <ac:spMkLst>
            <pc:docMk/>
            <pc:sldMk cId="215303834" sldId="298"/>
            <ac:spMk id="7" creationId="{E7CF3906-01DF-1999-4BF3-FE5F62A843D5}"/>
          </ac:spMkLst>
        </pc:spChg>
        <pc:spChg chg="add mod">
          <ac:chgData name="S, Varatharaj Kannan (365)" userId="4059857b-a82a-4577-ac2c-643e9c05e9a3" providerId="ADAL" clId="{404832C4-EF9D-47E0-A929-2766EC1E0D8E}" dt="2024-11-08T07:08:32.654" v="4104" actId="113"/>
          <ac:spMkLst>
            <pc:docMk/>
            <pc:sldMk cId="215303834" sldId="298"/>
            <ac:spMk id="9" creationId="{E4EED365-C89A-99C5-B3F6-ADBCAD155DCC}"/>
          </ac:spMkLst>
        </pc:spChg>
        <pc:cxnChg chg="add mod">
          <ac:chgData name="S, Varatharaj Kannan (365)" userId="4059857b-a82a-4577-ac2c-643e9c05e9a3" providerId="ADAL" clId="{404832C4-EF9D-47E0-A929-2766EC1E0D8E}" dt="2024-11-08T05:49:58.041" v="2916" actId="1035"/>
          <ac:cxnSpMkLst>
            <pc:docMk/>
            <pc:sldMk cId="215303834" sldId="298"/>
            <ac:cxnSpMk id="8" creationId="{65CADF74-0C49-F4D3-DF8E-2E8E3D12E8C2}"/>
          </ac:cxnSpMkLst>
        </pc:cxnChg>
      </pc:sldChg>
      <pc:sldChg chg="add del">
        <pc:chgData name="S, Varatharaj Kannan (365)" userId="4059857b-a82a-4577-ac2c-643e9c05e9a3" providerId="ADAL" clId="{404832C4-EF9D-47E0-A929-2766EC1E0D8E}" dt="2024-11-08T05:44:07.930" v="2747"/>
        <pc:sldMkLst>
          <pc:docMk/>
          <pc:sldMk cId="645748191" sldId="298"/>
        </pc:sldMkLst>
      </pc:sldChg>
      <pc:sldChg chg="addSp delSp modSp new mod">
        <pc:chgData name="S, Varatharaj Kannan (365)" userId="4059857b-a82a-4577-ac2c-643e9c05e9a3" providerId="ADAL" clId="{404832C4-EF9D-47E0-A929-2766EC1E0D8E}" dt="2024-11-08T12:20:53.987" v="4606" actId="14100"/>
        <pc:sldMkLst>
          <pc:docMk/>
          <pc:sldMk cId="3517708056" sldId="299"/>
        </pc:sldMkLst>
        <pc:spChg chg="del">
          <ac:chgData name="S, Varatharaj Kannan (365)" userId="4059857b-a82a-4577-ac2c-643e9c05e9a3" providerId="ADAL" clId="{404832C4-EF9D-47E0-A929-2766EC1E0D8E}" dt="2024-11-08T06:03:37.216" v="3321" actId="478"/>
          <ac:spMkLst>
            <pc:docMk/>
            <pc:sldMk cId="3517708056" sldId="299"/>
            <ac:spMk id="2" creationId="{3BD4B07D-CFB2-6C31-A056-93DF9E49CE40}"/>
          </ac:spMkLst>
        </pc:spChg>
        <pc:spChg chg="del">
          <ac:chgData name="S, Varatharaj Kannan (365)" userId="4059857b-a82a-4577-ac2c-643e9c05e9a3" providerId="ADAL" clId="{404832C4-EF9D-47E0-A929-2766EC1E0D8E}" dt="2024-11-08T06:03:37.216" v="3321" actId="478"/>
          <ac:spMkLst>
            <pc:docMk/>
            <pc:sldMk cId="3517708056" sldId="299"/>
            <ac:spMk id="3" creationId="{3E50198E-2E5B-516D-4A32-255B9BEAE925}"/>
          </ac:spMkLst>
        </pc:spChg>
        <pc:spChg chg="add mod">
          <ac:chgData name="S, Varatharaj Kannan (365)" userId="4059857b-a82a-4577-ac2c-643e9c05e9a3" providerId="ADAL" clId="{404832C4-EF9D-47E0-A929-2766EC1E0D8E}" dt="2024-11-08T06:04:40.555" v="3375" actId="14100"/>
          <ac:spMkLst>
            <pc:docMk/>
            <pc:sldMk cId="3517708056" sldId="299"/>
            <ac:spMk id="5" creationId="{3B2FEFA8-B3A5-0C84-5FEE-DD33FB3161B4}"/>
          </ac:spMkLst>
        </pc:spChg>
        <pc:spChg chg="add mod">
          <ac:chgData name="S, Varatharaj Kannan (365)" userId="4059857b-a82a-4577-ac2c-643e9c05e9a3" providerId="ADAL" clId="{404832C4-EF9D-47E0-A929-2766EC1E0D8E}" dt="2024-11-08T12:20:53.987" v="4606" actId="14100"/>
          <ac:spMkLst>
            <pc:docMk/>
            <pc:sldMk cId="3517708056" sldId="299"/>
            <ac:spMk id="6" creationId="{461013D3-909A-A10C-1875-4DAEE8C64FE0}"/>
          </ac:spMkLst>
        </pc:spChg>
        <pc:spChg chg="add mod">
          <ac:chgData name="S, Varatharaj Kannan (365)" userId="4059857b-a82a-4577-ac2c-643e9c05e9a3" providerId="ADAL" clId="{404832C4-EF9D-47E0-A929-2766EC1E0D8E}" dt="2024-11-08T06:06:59.884" v="3424" actId="1076"/>
          <ac:spMkLst>
            <pc:docMk/>
            <pc:sldMk cId="3517708056" sldId="299"/>
            <ac:spMk id="11" creationId="{6939B210-0194-E2CE-1A78-385E6C2EB9CB}"/>
          </ac:spMkLst>
        </pc:spChg>
        <pc:graphicFrameChg chg="add mod modVis">
          <ac:chgData name="S, Varatharaj Kannan (365)" userId="4059857b-a82a-4577-ac2c-643e9c05e9a3" providerId="ADAL" clId="{404832C4-EF9D-47E0-A929-2766EC1E0D8E}" dt="2024-11-08T06:03:37.804" v="3333"/>
          <ac:graphicFrameMkLst>
            <pc:docMk/>
            <pc:sldMk cId="3517708056" sldId="299"/>
            <ac:graphicFrameMk id="4" creationId="{493CE4FB-0CD6-64B6-627D-3657F2A7D308}"/>
          </ac:graphicFrameMkLst>
        </pc:graphicFrameChg>
        <pc:picChg chg="add mod">
          <ac:chgData name="S, Varatharaj Kannan (365)" userId="4059857b-a82a-4577-ac2c-643e9c05e9a3" providerId="ADAL" clId="{404832C4-EF9D-47E0-A929-2766EC1E0D8E}" dt="2024-11-08T06:05:08.577" v="3380" actId="14100"/>
          <ac:picMkLst>
            <pc:docMk/>
            <pc:sldMk cId="3517708056" sldId="299"/>
            <ac:picMk id="8" creationId="{4FF88FEF-A612-529B-2E81-1288194849B5}"/>
          </ac:picMkLst>
        </pc:picChg>
        <pc:picChg chg="add mod">
          <ac:chgData name="S, Varatharaj Kannan (365)" userId="4059857b-a82a-4577-ac2c-643e9c05e9a3" providerId="ADAL" clId="{404832C4-EF9D-47E0-A929-2766EC1E0D8E}" dt="2024-11-08T06:05:12.322" v="3381" actId="14100"/>
          <ac:picMkLst>
            <pc:docMk/>
            <pc:sldMk cId="3517708056" sldId="299"/>
            <ac:picMk id="9" creationId="{58E7FC4D-8A6E-DD59-8C99-2E77400AE4D0}"/>
          </ac:picMkLst>
        </pc:picChg>
        <pc:picChg chg="add mod">
          <ac:chgData name="S, Varatharaj Kannan (365)" userId="4059857b-a82a-4577-ac2c-643e9c05e9a3" providerId="ADAL" clId="{404832C4-EF9D-47E0-A929-2766EC1E0D8E}" dt="2024-11-08T06:05:08.577" v="3380" actId="14100"/>
          <ac:picMkLst>
            <pc:docMk/>
            <pc:sldMk cId="3517708056" sldId="299"/>
            <ac:picMk id="10" creationId="{46819B5C-6BCF-4DE8-0CC8-8139D1CAAD45}"/>
          </ac:picMkLst>
        </pc:picChg>
        <pc:picChg chg="add del mod">
          <ac:chgData name="S, Varatharaj Kannan (365)" userId="4059857b-a82a-4577-ac2c-643e9c05e9a3" providerId="ADAL" clId="{404832C4-EF9D-47E0-A929-2766EC1E0D8E}" dt="2024-11-08T06:09:14.985" v="3500" actId="478"/>
          <ac:picMkLst>
            <pc:docMk/>
            <pc:sldMk cId="3517708056" sldId="299"/>
            <ac:picMk id="12" creationId="{2DFEFB65-FEF6-7E9D-E3DF-4A8275F7BE7E}"/>
          </ac:picMkLst>
        </pc:picChg>
        <pc:picChg chg="add del mod">
          <ac:chgData name="S, Varatharaj Kannan (365)" userId="4059857b-a82a-4577-ac2c-643e9c05e9a3" providerId="ADAL" clId="{404832C4-EF9D-47E0-A929-2766EC1E0D8E}" dt="2024-11-08T06:09:13.067" v="3499" actId="478"/>
          <ac:picMkLst>
            <pc:docMk/>
            <pc:sldMk cId="3517708056" sldId="299"/>
            <ac:picMk id="13" creationId="{42916785-8352-19FC-E1DD-662BB21B4E1A}"/>
          </ac:picMkLst>
        </pc:picChg>
        <pc:picChg chg="add del mod">
          <ac:chgData name="S, Varatharaj Kannan (365)" userId="4059857b-a82a-4577-ac2c-643e9c05e9a3" providerId="ADAL" clId="{404832C4-EF9D-47E0-A929-2766EC1E0D8E}" dt="2024-11-08T06:09:13.067" v="3499" actId="478"/>
          <ac:picMkLst>
            <pc:docMk/>
            <pc:sldMk cId="3517708056" sldId="299"/>
            <ac:picMk id="14" creationId="{CCF2FB4B-653A-8D03-D745-162A3EB820B6}"/>
          </ac:picMkLst>
        </pc:picChg>
        <pc:picChg chg="add del mod">
          <ac:chgData name="S, Varatharaj Kannan (365)" userId="4059857b-a82a-4577-ac2c-643e9c05e9a3" providerId="ADAL" clId="{404832C4-EF9D-47E0-A929-2766EC1E0D8E}" dt="2024-11-08T06:09:13.067" v="3499" actId="478"/>
          <ac:picMkLst>
            <pc:docMk/>
            <pc:sldMk cId="3517708056" sldId="299"/>
            <ac:picMk id="15" creationId="{7ECE7412-BB76-C5AB-38E7-AEBEF498C5AD}"/>
          </ac:picMkLst>
        </pc:picChg>
        <pc:picChg chg="add mod">
          <ac:chgData name="S, Varatharaj Kannan (365)" userId="4059857b-a82a-4577-ac2c-643e9c05e9a3" providerId="ADAL" clId="{404832C4-EF9D-47E0-A929-2766EC1E0D8E}" dt="2024-11-08T06:09:38.161" v="3502" actId="1076"/>
          <ac:picMkLst>
            <pc:docMk/>
            <pc:sldMk cId="3517708056" sldId="299"/>
            <ac:picMk id="16" creationId="{CF8B3F60-F65C-48D9-9595-A356AEBED21F}"/>
          </ac:picMkLst>
        </pc:picChg>
        <pc:picChg chg="add mod">
          <ac:chgData name="S, Varatharaj Kannan (365)" userId="4059857b-a82a-4577-ac2c-643e9c05e9a3" providerId="ADAL" clId="{404832C4-EF9D-47E0-A929-2766EC1E0D8E}" dt="2024-11-08T06:10:28.254" v="3512" actId="1076"/>
          <ac:picMkLst>
            <pc:docMk/>
            <pc:sldMk cId="3517708056" sldId="299"/>
            <ac:picMk id="17" creationId="{0C21882A-EAFB-9DCB-1A81-73E0C3D6D2F1}"/>
          </ac:picMkLst>
        </pc:picChg>
        <pc:picChg chg="add mod">
          <ac:chgData name="S, Varatharaj Kannan (365)" userId="4059857b-a82a-4577-ac2c-643e9c05e9a3" providerId="ADAL" clId="{404832C4-EF9D-47E0-A929-2766EC1E0D8E}" dt="2024-11-08T06:10:12.023" v="3507" actId="1076"/>
          <ac:picMkLst>
            <pc:docMk/>
            <pc:sldMk cId="3517708056" sldId="299"/>
            <ac:picMk id="18" creationId="{8EF0E4CC-16F4-6D4D-B366-9B873253D99B}"/>
          </ac:picMkLst>
        </pc:picChg>
        <pc:picChg chg="add mod">
          <ac:chgData name="S, Varatharaj Kannan (365)" userId="4059857b-a82a-4577-ac2c-643e9c05e9a3" providerId="ADAL" clId="{404832C4-EF9D-47E0-A929-2766EC1E0D8E}" dt="2024-11-08T06:10:16.202" v="3508" actId="1076"/>
          <ac:picMkLst>
            <pc:docMk/>
            <pc:sldMk cId="3517708056" sldId="299"/>
            <ac:picMk id="19" creationId="{A99DA813-4A70-2BE7-49B1-7C5221034670}"/>
          </ac:picMkLst>
        </pc:picChg>
        <pc:picChg chg="add del mod">
          <ac:chgData name="S, Varatharaj Kannan (365)" userId="4059857b-a82a-4577-ac2c-643e9c05e9a3" providerId="ADAL" clId="{404832C4-EF9D-47E0-A929-2766EC1E0D8E}" dt="2024-11-08T06:10:24.948" v="3511" actId="478"/>
          <ac:picMkLst>
            <pc:docMk/>
            <pc:sldMk cId="3517708056" sldId="299"/>
            <ac:picMk id="20" creationId="{8EC740C8-9A25-4B85-3EA7-2823BE7A9C24}"/>
          </ac:picMkLst>
        </pc:picChg>
        <pc:picChg chg="add del mod">
          <ac:chgData name="S, Varatharaj Kannan (365)" userId="4059857b-a82a-4577-ac2c-643e9c05e9a3" providerId="ADAL" clId="{404832C4-EF9D-47E0-A929-2766EC1E0D8E}" dt="2024-11-08T06:10:19.933" v="3509" actId="478"/>
          <ac:picMkLst>
            <pc:docMk/>
            <pc:sldMk cId="3517708056" sldId="299"/>
            <ac:picMk id="21" creationId="{982DCC11-7CC5-E4C0-0955-524B45A6EDBF}"/>
          </ac:picMkLst>
        </pc:picChg>
        <pc:picChg chg="add del mod">
          <ac:chgData name="S, Varatharaj Kannan (365)" userId="4059857b-a82a-4577-ac2c-643e9c05e9a3" providerId="ADAL" clId="{404832C4-EF9D-47E0-A929-2766EC1E0D8E}" dt="2024-11-08T06:10:22.763" v="3510" actId="478"/>
          <ac:picMkLst>
            <pc:docMk/>
            <pc:sldMk cId="3517708056" sldId="299"/>
            <ac:picMk id="22" creationId="{434B0780-5939-B798-5CCD-3233F89A21CE}"/>
          </ac:picMkLst>
        </pc:picChg>
        <pc:cxnChg chg="add mod">
          <ac:chgData name="S, Varatharaj Kannan (365)" userId="4059857b-a82a-4577-ac2c-643e9c05e9a3" providerId="ADAL" clId="{404832C4-EF9D-47E0-A929-2766EC1E0D8E}" dt="2024-11-08T06:03:43.841" v="3334"/>
          <ac:cxnSpMkLst>
            <pc:docMk/>
            <pc:sldMk cId="3517708056" sldId="299"/>
            <ac:cxnSpMk id="7" creationId="{3058CAB4-9A24-84D0-BBFB-104EE6B6F177}"/>
          </ac:cxnSpMkLst>
        </pc:cxnChg>
      </pc:sldChg>
      <pc:sldChg chg="addSp delSp modSp add mod">
        <pc:chgData name="S, Varatharaj Kannan (365)" userId="4059857b-a82a-4577-ac2c-643e9c05e9a3" providerId="ADAL" clId="{404832C4-EF9D-47E0-A929-2766EC1E0D8E}" dt="2024-11-08T12:20:46.025" v="4596" actId="20577"/>
        <pc:sldMkLst>
          <pc:docMk/>
          <pc:sldMk cId="1746424743" sldId="300"/>
        </pc:sldMkLst>
        <pc:spChg chg="del">
          <ac:chgData name="S, Varatharaj Kannan (365)" userId="4059857b-a82a-4577-ac2c-643e9c05e9a3" providerId="ADAL" clId="{404832C4-EF9D-47E0-A929-2766EC1E0D8E}" dt="2024-11-08T06:07:15.447" v="3427" actId="478"/>
          <ac:spMkLst>
            <pc:docMk/>
            <pc:sldMk cId="1746424743" sldId="300"/>
            <ac:spMk id="5" creationId="{3B2FEFA8-B3A5-0C84-5FEE-DD33FB3161B4}"/>
          </ac:spMkLst>
        </pc:spChg>
        <pc:spChg chg="mod">
          <ac:chgData name="S, Varatharaj Kannan (365)" userId="4059857b-a82a-4577-ac2c-643e9c05e9a3" providerId="ADAL" clId="{404832C4-EF9D-47E0-A929-2766EC1E0D8E}" dt="2024-11-08T12:20:46.025" v="4596" actId="20577"/>
          <ac:spMkLst>
            <pc:docMk/>
            <pc:sldMk cId="1746424743" sldId="300"/>
            <ac:spMk id="6" creationId="{461013D3-909A-A10C-1875-4DAEE8C64FE0}"/>
          </ac:spMkLst>
        </pc:spChg>
        <pc:spChg chg="mod">
          <ac:chgData name="S, Varatharaj Kannan (365)" userId="4059857b-a82a-4577-ac2c-643e9c05e9a3" providerId="ADAL" clId="{404832C4-EF9D-47E0-A929-2766EC1E0D8E}" dt="2024-11-08T06:08:24.550" v="3494" actId="12"/>
          <ac:spMkLst>
            <pc:docMk/>
            <pc:sldMk cId="1746424743" sldId="300"/>
            <ac:spMk id="11" creationId="{6939B210-0194-E2CE-1A78-385E6C2EB9CB}"/>
          </ac:spMkLst>
        </pc:spChg>
        <pc:picChg chg="add del mod">
          <ac:chgData name="S, Varatharaj Kannan (365)" userId="4059857b-a82a-4577-ac2c-643e9c05e9a3" providerId="ADAL" clId="{404832C4-EF9D-47E0-A929-2766EC1E0D8E}" dt="2024-11-08T06:10:57.824" v="3518" actId="478"/>
          <ac:picMkLst>
            <pc:docMk/>
            <pc:sldMk cId="1746424743" sldId="300"/>
            <ac:picMk id="2" creationId="{38B4CAEA-6C0F-13F9-FF4F-EA783B7BD22B}"/>
          </ac:picMkLst>
        </pc:picChg>
        <pc:picChg chg="add mod">
          <ac:chgData name="S, Varatharaj Kannan (365)" userId="4059857b-a82a-4577-ac2c-643e9c05e9a3" providerId="ADAL" clId="{404832C4-EF9D-47E0-A929-2766EC1E0D8E}" dt="2024-11-08T06:10:43.988" v="3515" actId="1076"/>
          <ac:picMkLst>
            <pc:docMk/>
            <pc:sldMk cId="1746424743" sldId="300"/>
            <ac:picMk id="3" creationId="{DF3790A4-ECC2-5061-7FA0-24CBB26AD701}"/>
          </ac:picMkLst>
        </pc:picChg>
        <pc:picChg chg="del">
          <ac:chgData name="S, Varatharaj Kannan (365)" userId="4059857b-a82a-4577-ac2c-643e9c05e9a3" providerId="ADAL" clId="{404832C4-EF9D-47E0-A929-2766EC1E0D8E}" dt="2024-11-08T06:07:12.950" v="3426" actId="478"/>
          <ac:picMkLst>
            <pc:docMk/>
            <pc:sldMk cId="1746424743" sldId="300"/>
            <ac:picMk id="8" creationId="{4FF88FEF-A612-529B-2E81-1288194849B5}"/>
          </ac:picMkLst>
        </pc:picChg>
        <pc:picChg chg="del">
          <ac:chgData name="S, Varatharaj Kannan (365)" userId="4059857b-a82a-4577-ac2c-643e9c05e9a3" providerId="ADAL" clId="{404832C4-EF9D-47E0-A929-2766EC1E0D8E}" dt="2024-11-08T06:07:12.950" v="3426" actId="478"/>
          <ac:picMkLst>
            <pc:docMk/>
            <pc:sldMk cId="1746424743" sldId="300"/>
            <ac:picMk id="9" creationId="{58E7FC4D-8A6E-DD59-8C99-2E77400AE4D0}"/>
          </ac:picMkLst>
        </pc:picChg>
        <pc:picChg chg="del">
          <ac:chgData name="S, Varatharaj Kannan (365)" userId="4059857b-a82a-4577-ac2c-643e9c05e9a3" providerId="ADAL" clId="{404832C4-EF9D-47E0-A929-2766EC1E0D8E}" dt="2024-11-08T06:07:12.950" v="3426" actId="478"/>
          <ac:picMkLst>
            <pc:docMk/>
            <pc:sldMk cId="1746424743" sldId="300"/>
            <ac:picMk id="10" creationId="{46819B5C-6BCF-4DE8-0CC8-8139D1CAAD45}"/>
          </ac:picMkLst>
        </pc:picChg>
        <pc:picChg chg="add mod">
          <ac:chgData name="S, Varatharaj Kannan (365)" userId="4059857b-a82a-4577-ac2c-643e9c05e9a3" providerId="ADAL" clId="{404832C4-EF9D-47E0-A929-2766EC1E0D8E}" dt="2024-11-08T06:10:50.102" v="3516" actId="1076"/>
          <ac:picMkLst>
            <pc:docMk/>
            <pc:sldMk cId="1746424743" sldId="300"/>
            <ac:picMk id="12" creationId="{DEB6A894-1191-28CE-83EF-81469B0E990A}"/>
          </ac:picMkLst>
        </pc:picChg>
        <pc:picChg chg="add mod">
          <ac:chgData name="S, Varatharaj Kannan (365)" userId="4059857b-a82a-4577-ac2c-643e9c05e9a3" providerId="ADAL" clId="{404832C4-EF9D-47E0-A929-2766EC1E0D8E}" dt="2024-11-08T06:10:55.595" v="3517" actId="1076"/>
          <ac:picMkLst>
            <pc:docMk/>
            <pc:sldMk cId="1746424743" sldId="300"/>
            <ac:picMk id="13" creationId="{FA5296CA-E3CE-81F7-AED7-07577A14C8D7}"/>
          </ac:picMkLst>
        </pc:picChg>
        <pc:picChg chg="add del mod">
          <ac:chgData name="S, Varatharaj Kannan (365)" userId="4059857b-a82a-4577-ac2c-643e9c05e9a3" providerId="ADAL" clId="{404832C4-EF9D-47E0-A929-2766EC1E0D8E}" dt="2024-11-08T06:10:57.824" v="3518" actId="478"/>
          <ac:picMkLst>
            <pc:docMk/>
            <pc:sldMk cId="1746424743" sldId="300"/>
            <ac:picMk id="14" creationId="{40C15108-CDCE-579D-A0F6-46E060A6BF9D}"/>
          </ac:picMkLst>
        </pc:picChg>
        <pc:picChg chg="add mod">
          <ac:chgData name="S, Varatharaj Kannan (365)" userId="4059857b-a82a-4577-ac2c-643e9c05e9a3" providerId="ADAL" clId="{404832C4-EF9D-47E0-A929-2766EC1E0D8E}" dt="2024-11-08T06:11:37.018" v="3525" actId="1076"/>
          <ac:picMkLst>
            <pc:docMk/>
            <pc:sldMk cId="1746424743" sldId="300"/>
            <ac:picMk id="15" creationId="{B6BCED1D-5360-F617-E79B-FABC4C41C3DA}"/>
          </ac:picMkLst>
        </pc:picChg>
        <pc:picChg chg="add mod">
          <ac:chgData name="S, Varatharaj Kannan (365)" userId="4059857b-a82a-4577-ac2c-643e9c05e9a3" providerId="ADAL" clId="{404832C4-EF9D-47E0-A929-2766EC1E0D8E}" dt="2024-11-08T06:11:38.966" v="3526" actId="1076"/>
          <ac:picMkLst>
            <pc:docMk/>
            <pc:sldMk cId="1746424743" sldId="300"/>
            <ac:picMk id="16" creationId="{7EDB7A83-EF63-90E2-F603-F0561FC20707}"/>
          </ac:picMkLst>
        </pc:picChg>
        <pc:picChg chg="add del mod">
          <ac:chgData name="S, Varatharaj Kannan (365)" userId="4059857b-a82a-4577-ac2c-643e9c05e9a3" providerId="ADAL" clId="{404832C4-EF9D-47E0-A929-2766EC1E0D8E}" dt="2024-11-08T06:11:44.153" v="3527" actId="478"/>
          <ac:picMkLst>
            <pc:docMk/>
            <pc:sldMk cId="1746424743" sldId="300"/>
            <ac:picMk id="17" creationId="{B61D34AA-C8A7-30AE-F4BC-1E23D1D0E744}"/>
          </ac:picMkLst>
        </pc:picChg>
        <pc:picChg chg="add mod">
          <ac:chgData name="S, Varatharaj Kannan (365)" userId="4059857b-a82a-4577-ac2c-643e9c05e9a3" providerId="ADAL" clId="{404832C4-EF9D-47E0-A929-2766EC1E0D8E}" dt="2024-11-08T06:11:35.492" v="3524" actId="1076"/>
          <ac:picMkLst>
            <pc:docMk/>
            <pc:sldMk cId="1746424743" sldId="300"/>
            <ac:picMk id="18" creationId="{C27B9349-508B-37EB-0CEE-2FF8EC8616BF}"/>
          </ac:picMkLst>
        </pc:picChg>
        <pc:picChg chg="add del mod">
          <ac:chgData name="S, Varatharaj Kannan (365)" userId="4059857b-a82a-4577-ac2c-643e9c05e9a3" providerId="ADAL" clId="{404832C4-EF9D-47E0-A929-2766EC1E0D8E}" dt="2024-11-08T06:11:44.153" v="3527" actId="478"/>
          <ac:picMkLst>
            <pc:docMk/>
            <pc:sldMk cId="1746424743" sldId="300"/>
            <ac:picMk id="19" creationId="{625567F2-49BC-1445-68E0-AED1F6F2DFDA}"/>
          </ac:picMkLst>
        </pc:picChg>
        <pc:picChg chg="add mod">
          <ac:chgData name="S, Varatharaj Kannan (365)" userId="4059857b-a82a-4577-ac2c-643e9c05e9a3" providerId="ADAL" clId="{404832C4-EF9D-47E0-A929-2766EC1E0D8E}" dt="2024-11-08T06:12:04.414" v="3533" actId="1076"/>
          <ac:picMkLst>
            <pc:docMk/>
            <pc:sldMk cId="1746424743" sldId="300"/>
            <ac:picMk id="20" creationId="{84E20FC5-2A5D-0B10-20F5-AE2C57CAE61D}"/>
          </ac:picMkLst>
        </pc:picChg>
        <pc:picChg chg="add del mod">
          <ac:chgData name="S, Varatharaj Kannan (365)" userId="4059857b-a82a-4577-ac2c-643e9c05e9a3" providerId="ADAL" clId="{404832C4-EF9D-47E0-A929-2766EC1E0D8E}" dt="2024-11-08T06:12:10.969" v="3536" actId="478"/>
          <ac:picMkLst>
            <pc:docMk/>
            <pc:sldMk cId="1746424743" sldId="300"/>
            <ac:picMk id="21" creationId="{DD7BA1AA-BEB6-E177-8F33-24FF0305AA87}"/>
          </ac:picMkLst>
        </pc:picChg>
        <pc:picChg chg="add mod">
          <ac:chgData name="S, Varatharaj Kannan (365)" userId="4059857b-a82a-4577-ac2c-643e9c05e9a3" providerId="ADAL" clId="{404832C4-EF9D-47E0-A929-2766EC1E0D8E}" dt="2024-11-08T06:11:58.445" v="3531" actId="14100"/>
          <ac:picMkLst>
            <pc:docMk/>
            <pc:sldMk cId="1746424743" sldId="300"/>
            <ac:picMk id="22" creationId="{2A2C4528-E289-2E4B-E4C8-5196F29E60EC}"/>
          </ac:picMkLst>
        </pc:picChg>
        <pc:picChg chg="add del mod">
          <ac:chgData name="S, Varatharaj Kannan (365)" userId="4059857b-a82a-4577-ac2c-643e9c05e9a3" providerId="ADAL" clId="{404832C4-EF9D-47E0-A929-2766EC1E0D8E}" dt="2024-11-08T06:12:08.329" v="3535" actId="478"/>
          <ac:picMkLst>
            <pc:docMk/>
            <pc:sldMk cId="1746424743" sldId="300"/>
            <ac:picMk id="23" creationId="{F8FA1E8F-62DE-B664-98CB-C33A52A29117}"/>
          </ac:picMkLst>
        </pc:picChg>
        <pc:picChg chg="add mod">
          <ac:chgData name="S, Varatharaj Kannan (365)" userId="4059857b-a82a-4577-ac2c-643e9c05e9a3" providerId="ADAL" clId="{404832C4-EF9D-47E0-A929-2766EC1E0D8E}" dt="2024-11-08T06:12:01.929" v="3532" actId="1076"/>
          <ac:picMkLst>
            <pc:docMk/>
            <pc:sldMk cId="1746424743" sldId="300"/>
            <ac:picMk id="24" creationId="{52AEC9C0-B815-A740-D6BC-D6F2ADE041AE}"/>
          </ac:picMkLst>
        </pc:picChg>
      </pc:sldChg>
      <pc:sldChg chg="addSp delSp modSp new mod">
        <pc:chgData name="S, Varatharaj Kannan (365)" userId="4059857b-a82a-4577-ac2c-643e9c05e9a3" providerId="ADAL" clId="{404832C4-EF9D-47E0-A929-2766EC1E0D8E}" dt="2024-11-08T06:25:20.672" v="3728" actId="113"/>
        <pc:sldMkLst>
          <pc:docMk/>
          <pc:sldMk cId="3311847460" sldId="301"/>
        </pc:sldMkLst>
        <pc:spChg chg="del">
          <ac:chgData name="S, Varatharaj Kannan (365)" userId="4059857b-a82a-4577-ac2c-643e9c05e9a3" providerId="ADAL" clId="{404832C4-EF9D-47E0-A929-2766EC1E0D8E}" dt="2024-11-08T06:13:27.973" v="3539" actId="478"/>
          <ac:spMkLst>
            <pc:docMk/>
            <pc:sldMk cId="3311847460" sldId="301"/>
            <ac:spMk id="2" creationId="{CC95B0DA-FEDB-68D2-29F0-85743FFD5240}"/>
          </ac:spMkLst>
        </pc:spChg>
        <pc:spChg chg="del">
          <ac:chgData name="S, Varatharaj Kannan (365)" userId="4059857b-a82a-4577-ac2c-643e9c05e9a3" providerId="ADAL" clId="{404832C4-EF9D-47E0-A929-2766EC1E0D8E}" dt="2024-11-08T06:13:27.973" v="3539" actId="478"/>
          <ac:spMkLst>
            <pc:docMk/>
            <pc:sldMk cId="3311847460" sldId="301"/>
            <ac:spMk id="3" creationId="{DF16872E-14EA-B55B-2410-7D6F9B48D7DA}"/>
          </ac:spMkLst>
        </pc:spChg>
        <pc:spChg chg="add mod">
          <ac:chgData name="S, Varatharaj Kannan (365)" userId="4059857b-a82a-4577-ac2c-643e9c05e9a3" providerId="ADAL" clId="{404832C4-EF9D-47E0-A929-2766EC1E0D8E}" dt="2024-11-08T06:13:43.975" v="3584" actId="20577"/>
          <ac:spMkLst>
            <pc:docMk/>
            <pc:sldMk cId="3311847460" sldId="301"/>
            <ac:spMk id="5" creationId="{FC097581-BD1D-5001-ACE7-E0A9CF2A1AAA}"/>
          </ac:spMkLst>
        </pc:spChg>
        <pc:spChg chg="add mod">
          <ac:chgData name="S, Varatharaj Kannan (365)" userId="4059857b-a82a-4577-ac2c-643e9c05e9a3" providerId="ADAL" clId="{404832C4-EF9D-47E0-A929-2766EC1E0D8E}" dt="2024-11-08T06:14:47.463" v="3607" actId="12"/>
          <ac:spMkLst>
            <pc:docMk/>
            <pc:sldMk cId="3311847460" sldId="301"/>
            <ac:spMk id="8" creationId="{2ED4019F-BFD7-779D-1537-DB21DEE7D49A}"/>
          </ac:spMkLst>
        </pc:spChg>
        <pc:graphicFrameChg chg="add mod modVis">
          <ac:chgData name="S, Varatharaj Kannan (365)" userId="4059857b-a82a-4577-ac2c-643e9c05e9a3" providerId="ADAL" clId="{404832C4-EF9D-47E0-A929-2766EC1E0D8E}" dt="2024-11-08T06:13:28.507" v="3551"/>
          <ac:graphicFrameMkLst>
            <pc:docMk/>
            <pc:sldMk cId="3311847460" sldId="301"/>
            <ac:graphicFrameMk id="4" creationId="{D9FEE7AA-2539-8D81-A4E9-61334F31251C}"/>
          </ac:graphicFrameMkLst>
        </pc:graphicFrameChg>
        <pc:graphicFrameChg chg="add mod modGraphic">
          <ac:chgData name="S, Varatharaj Kannan (365)" userId="4059857b-a82a-4577-ac2c-643e9c05e9a3" providerId="ADAL" clId="{404832C4-EF9D-47E0-A929-2766EC1E0D8E}" dt="2024-11-08T06:25:20.672" v="3728" actId="113"/>
          <ac:graphicFrameMkLst>
            <pc:docMk/>
            <pc:sldMk cId="3311847460" sldId="301"/>
            <ac:graphicFrameMk id="9" creationId="{39FA26C8-A51D-9CDA-0998-B5390F4B1096}"/>
          </ac:graphicFrameMkLst>
        </pc:graphicFrameChg>
        <pc:cxnChg chg="add mod">
          <ac:chgData name="S, Varatharaj Kannan (365)" userId="4059857b-a82a-4577-ac2c-643e9c05e9a3" providerId="ADAL" clId="{404832C4-EF9D-47E0-A929-2766EC1E0D8E}" dt="2024-11-08T06:13:33.521" v="3552"/>
          <ac:cxnSpMkLst>
            <pc:docMk/>
            <pc:sldMk cId="3311847460" sldId="301"/>
            <ac:cxnSpMk id="6" creationId="{9B628995-D71E-80B6-B323-A2E6140BBFD7}"/>
          </ac:cxnSpMkLst>
        </pc:cxnChg>
      </pc:sldChg>
      <pc:sldChg chg="addSp delSp modSp add mod">
        <pc:chgData name="S, Varatharaj Kannan (365)" userId="4059857b-a82a-4577-ac2c-643e9c05e9a3" providerId="ADAL" clId="{404832C4-EF9D-47E0-A929-2766EC1E0D8E}" dt="2024-11-08T12:21:04.783" v="4607" actId="20577"/>
        <pc:sldMkLst>
          <pc:docMk/>
          <pc:sldMk cId="2208802538" sldId="302"/>
        </pc:sldMkLst>
        <pc:spChg chg="add mod">
          <ac:chgData name="S, Varatharaj Kannan (365)" userId="4059857b-a82a-4577-ac2c-643e9c05e9a3" providerId="ADAL" clId="{404832C4-EF9D-47E0-A929-2766EC1E0D8E}" dt="2024-11-08T06:48:51.181" v="3877" actId="1076"/>
          <ac:spMkLst>
            <pc:docMk/>
            <pc:sldMk cId="2208802538" sldId="302"/>
            <ac:spMk id="6" creationId="{7906338A-B27D-9AB2-360B-5E0956ECC883}"/>
          </ac:spMkLst>
        </pc:spChg>
        <pc:spChg chg="add mod">
          <ac:chgData name="S, Varatharaj Kannan (365)" userId="4059857b-a82a-4577-ac2c-643e9c05e9a3" providerId="ADAL" clId="{404832C4-EF9D-47E0-A929-2766EC1E0D8E}" dt="2024-11-08T06:48:48.653" v="3876" actId="1076"/>
          <ac:spMkLst>
            <pc:docMk/>
            <pc:sldMk cId="2208802538" sldId="302"/>
            <ac:spMk id="13" creationId="{B1F32F41-BFF3-46B6-1732-CD814901C1B1}"/>
          </ac:spMkLst>
        </pc:spChg>
        <pc:spChg chg="mod">
          <ac:chgData name="S, Varatharaj Kannan (365)" userId="4059857b-a82a-4577-ac2c-643e9c05e9a3" providerId="ADAL" clId="{404832C4-EF9D-47E0-A929-2766EC1E0D8E}" dt="2024-11-08T12:21:04.783" v="4607" actId="20577"/>
          <ac:spMkLst>
            <pc:docMk/>
            <pc:sldMk cId="2208802538" sldId="302"/>
            <ac:spMk id="17" creationId="{AEF9FBEB-4AB2-75A4-5B9A-A4EAFFBEA284}"/>
          </ac:spMkLst>
        </pc:spChg>
        <pc:spChg chg="add mod">
          <ac:chgData name="S, Varatharaj Kannan (365)" userId="4059857b-a82a-4577-ac2c-643e9c05e9a3" providerId="ADAL" clId="{404832C4-EF9D-47E0-A929-2766EC1E0D8E}" dt="2024-11-08T06:48:54.238" v="3879" actId="113"/>
          <ac:spMkLst>
            <pc:docMk/>
            <pc:sldMk cId="2208802538" sldId="302"/>
            <ac:spMk id="21" creationId="{06E666DB-CA9F-F71E-883C-633385123FCA}"/>
          </ac:spMkLst>
        </pc:spChg>
        <pc:picChg chg="add mod">
          <ac:chgData name="S, Varatharaj Kannan (365)" userId="4059857b-a82a-4577-ac2c-643e9c05e9a3" providerId="ADAL" clId="{404832C4-EF9D-47E0-A929-2766EC1E0D8E}" dt="2024-11-08T06:48:15.919" v="3864" actId="1036"/>
          <ac:picMkLst>
            <pc:docMk/>
            <pc:sldMk cId="2208802538" sldId="302"/>
            <ac:picMk id="3" creationId="{E136E667-E198-C072-5BDE-8AD683531FF3}"/>
          </ac:picMkLst>
        </pc:picChg>
        <pc:picChg chg="del">
          <ac:chgData name="S, Varatharaj Kannan (365)" userId="4059857b-a82a-4577-ac2c-643e9c05e9a3" providerId="ADAL" clId="{404832C4-EF9D-47E0-A929-2766EC1E0D8E}" dt="2024-11-08T06:45:05.276" v="3800" actId="478"/>
          <ac:picMkLst>
            <pc:docMk/>
            <pc:sldMk cId="2208802538" sldId="302"/>
            <ac:picMk id="8" creationId="{B97D2A51-D102-9E24-DA74-5A05F7F8D586}"/>
          </ac:picMkLst>
        </pc:picChg>
        <pc:picChg chg="add mod">
          <ac:chgData name="S, Varatharaj Kannan (365)" userId="4059857b-a82a-4577-ac2c-643e9c05e9a3" providerId="ADAL" clId="{404832C4-EF9D-47E0-A929-2766EC1E0D8E}" dt="2024-11-08T06:47:46.330" v="3851" actId="1076"/>
          <ac:picMkLst>
            <pc:docMk/>
            <pc:sldMk cId="2208802538" sldId="302"/>
            <ac:picMk id="9" creationId="{876D96D8-218A-AA43-4F71-3D20B92F2371}"/>
          </ac:picMkLst>
        </pc:picChg>
        <pc:picChg chg="del">
          <ac:chgData name="S, Varatharaj Kannan (365)" userId="4059857b-a82a-4577-ac2c-643e9c05e9a3" providerId="ADAL" clId="{404832C4-EF9D-47E0-A929-2766EC1E0D8E}" dt="2024-11-08T06:45:05.276" v="3800" actId="478"/>
          <ac:picMkLst>
            <pc:docMk/>
            <pc:sldMk cId="2208802538" sldId="302"/>
            <ac:picMk id="10" creationId="{4A9D310D-D907-08AE-56CE-A5FDD16C31F7}"/>
          </ac:picMkLst>
        </pc:picChg>
        <pc:picChg chg="del">
          <ac:chgData name="S, Varatharaj Kannan (365)" userId="4059857b-a82a-4577-ac2c-643e9c05e9a3" providerId="ADAL" clId="{404832C4-EF9D-47E0-A929-2766EC1E0D8E}" dt="2024-11-08T06:45:05.276" v="3800" actId="478"/>
          <ac:picMkLst>
            <pc:docMk/>
            <pc:sldMk cId="2208802538" sldId="302"/>
            <ac:picMk id="12" creationId="{A35CBDBD-7787-C6AA-C42D-55135727F3EA}"/>
          </ac:picMkLst>
        </pc:picChg>
        <pc:picChg chg="add del mod">
          <ac:chgData name="S, Varatharaj Kannan (365)" userId="4059857b-a82a-4577-ac2c-643e9c05e9a3" providerId="ADAL" clId="{404832C4-EF9D-47E0-A929-2766EC1E0D8E}" dt="2024-11-08T06:47:24.161" v="3843" actId="478"/>
          <ac:picMkLst>
            <pc:docMk/>
            <pc:sldMk cId="2208802538" sldId="302"/>
            <ac:picMk id="14" creationId="{018D13C1-1A01-252E-31E1-384B13659B12}"/>
          </ac:picMkLst>
        </pc:picChg>
        <pc:picChg chg="del">
          <ac:chgData name="S, Varatharaj Kannan (365)" userId="4059857b-a82a-4577-ac2c-643e9c05e9a3" providerId="ADAL" clId="{404832C4-EF9D-47E0-A929-2766EC1E0D8E}" dt="2024-11-08T06:45:05.276" v="3800" actId="478"/>
          <ac:picMkLst>
            <pc:docMk/>
            <pc:sldMk cId="2208802538" sldId="302"/>
            <ac:picMk id="16" creationId="{5C893772-E922-ADE8-A59C-1E2641CFD4B8}"/>
          </ac:picMkLst>
        </pc:picChg>
        <pc:picChg chg="add mod">
          <ac:chgData name="S, Varatharaj Kannan (365)" userId="4059857b-a82a-4577-ac2c-643e9c05e9a3" providerId="ADAL" clId="{404832C4-EF9D-47E0-A929-2766EC1E0D8E}" dt="2024-11-08T06:47:49.835" v="3853" actId="14100"/>
          <ac:picMkLst>
            <pc:docMk/>
            <pc:sldMk cId="2208802538" sldId="302"/>
            <ac:picMk id="19" creationId="{B4D50B93-EF2A-0FBA-FA67-B8710B71E01E}"/>
          </ac:picMkLst>
        </pc:picChg>
      </pc:sldChg>
      <pc:sldChg chg="delSp modSp add mod">
        <pc:chgData name="S, Varatharaj Kannan (365)" userId="4059857b-a82a-4577-ac2c-643e9c05e9a3" providerId="ADAL" clId="{404832C4-EF9D-47E0-A929-2766EC1E0D8E}" dt="2024-11-08T12:21:07.588" v="4608" actId="20577"/>
        <pc:sldMkLst>
          <pc:docMk/>
          <pc:sldMk cId="3062422324" sldId="303"/>
        </pc:sldMkLst>
        <pc:spChg chg="mod">
          <ac:chgData name="S, Varatharaj Kannan (365)" userId="4059857b-a82a-4577-ac2c-643e9c05e9a3" providerId="ADAL" clId="{404832C4-EF9D-47E0-A929-2766EC1E0D8E}" dt="2024-11-08T12:21:07.588" v="4608" actId="20577"/>
          <ac:spMkLst>
            <pc:docMk/>
            <pc:sldMk cId="3062422324" sldId="303"/>
            <ac:spMk id="17" creationId="{AEF9FBEB-4AB2-75A4-5B9A-A4EAFFBEA284}"/>
          </ac:spMkLst>
        </pc:spChg>
        <pc:picChg chg="del">
          <ac:chgData name="S, Varatharaj Kannan (365)" userId="4059857b-a82a-4577-ac2c-643e9c05e9a3" providerId="ADAL" clId="{404832C4-EF9D-47E0-A929-2766EC1E0D8E}" dt="2024-11-08T06:49:03.628" v="3880" actId="478"/>
          <ac:picMkLst>
            <pc:docMk/>
            <pc:sldMk cId="3062422324" sldId="303"/>
            <ac:picMk id="8" creationId="{B97D2A51-D102-9E24-DA74-5A05F7F8D586}"/>
          </ac:picMkLst>
        </pc:picChg>
        <pc:picChg chg="mod">
          <ac:chgData name="S, Varatharaj Kannan (365)" userId="4059857b-a82a-4577-ac2c-643e9c05e9a3" providerId="ADAL" clId="{404832C4-EF9D-47E0-A929-2766EC1E0D8E}" dt="2024-11-08T06:49:06.270" v="3881" actId="1076"/>
          <ac:picMkLst>
            <pc:docMk/>
            <pc:sldMk cId="3062422324" sldId="303"/>
            <ac:picMk id="10" creationId="{4A9D310D-D907-08AE-56CE-A5FDD16C31F7}"/>
          </ac:picMkLst>
        </pc:picChg>
        <pc:picChg chg="mod">
          <ac:chgData name="S, Varatharaj Kannan (365)" userId="4059857b-a82a-4577-ac2c-643e9c05e9a3" providerId="ADAL" clId="{404832C4-EF9D-47E0-A929-2766EC1E0D8E}" dt="2024-11-08T06:49:09.321" v="3882" actId="1076"/>
          <ac:picMkLst>
            <pc:docMk/>
            <pc:sldMk cId="3062422324" sldId="303"/>
            <ac:picMk id="12" creationId="{A35CBDBD-7787-C6AA-C42D-55135727F3EA}"/>
          </ac:picMkLst>
        </pc:picChg>
        <pc:picChg chg="mod">
          <ac:chgData name="S, Varatharaj Kannan (365)" userId="4059857b-a82a-4577-ac2c-643e9c05e9a3" providerId="ADAL" clId="{404832C4-EF9D-47E0-A929-2766EC1E0D8E}" dt="2024-11-08T06:49:15.985" v="3884" actId="1076"/>
          <ac:picMkLst>
            <pc:docMk/>
            <pc:sldMk cId="3062422324" sldId="303"/>
            <ac:picMk id="16" creationId="{5C893772-E922-ADE8-A59C-1E2641CFD4B8}"/>
          </ac:picMkLst>
        </pc:picChg>
      </pc:sldChg>
      <pc:sldChg chg="addSp delSp modSp new mod">
        <pc:chgData name="S, Varatharaj Kannan (365)" userId="4059857b-a82a-4577-ac2c-643e9c05e9a3" providerId="ADAL" clId="{404832C4-EF9D-47E0-A929-2766EC1E0D8E}" dt="2024-11-08T12:21:16.830" v="4609" actId="20577"/>
        <pc:sldMkLst>
          <pc:docMk/>
          <pc:sldMk cId="496652845" sldId="304"/>
        </pc:sldMkLst>
        <pc:spChg chg="del">
          <ac:chgData name="S, Varatharaj Kannan (365)" userId="4059857b-a82a-4577-ac2c-643e9c05e9a3" providerId="ADAL" clId="{404832C4-EF9D-47E0-A929-2766EC1E0D8E}" dt="2024-11-08T06:54:10.464" v="3964" actId="478"/>
          <ac:spMkLst>
            <pc:docMk/>
            <pc:sldMk cId="496652845" sldId="304"/>
            <ac:spMk id="2" creationId="{75CFCF56-98B5-C413-B04D-17833377D4B7}"/>
          </ac:spMkLst>
        </pc:spChg>
        <pc:spChg chg="del">
          <ac:chgData name="S, Varatharaj Kannan (365)" userId="4059857b-a82a-4577-ac2c-643e9c05e9a3" providerId="ADAL" clId="{404832C4-EF9D-47E0-A929-2766EC1E0D8E}" dt="2024-11-08T06:54:10.464" v="3964" actId="478"/>
          <ac:spMkLst>
            <pc:docMk/>
            <pc:sldMk cId="496652845" sldId="304"/>
            <ac:spMk id="3" creationId="{4D5F7C65-4ABE-C87B-ACBB-515FAABBA40F}"/>
          </ac:spMkLst>
        </pc:spChg>
        <pc:spChg chg="add mod">
          <ac:chgData name="S, Varatharaj Kannan (365)" userId="4059857b-a82a-4577-ac2c-643e9c05e9a3" providerId="ADAL" clId="{404832C4-EF9D-47E0-A929-2766EC1E0D8E}" dt="2024-11-08T12:21:16.830" v="4609" actId="20577"/>
          <ac:spMkLst>
            <pc:docMk/>
            <pc:sldMk cId="496652845" sldId="304"/>
            <ac:spMk id="5" creationId="{293F44E3-2106-333F-4BAE-35B9FC571BED}"/>
          </ac:spMkLst>
        </pc:spChg>
        <pc:spChg chg="add mod">
          <ac:chgData name="S, Varatharaj Kannan (365)" userId="4059857b-a82a-4577-ac2c-643e9c05e9a3" providerId="ADAL" clId="{404832C4-EF9D-47E0-A929-2766EC1E0D8E}" dt="2024-11-08T07:01:40.372" v="4045" actId="1076"/>
          <ac:spMkLst>
            <pc:docMk/>
            <pc:sldMk cId="496652845" sldId="304"/>
            <ac:spMk id="10" creationId="{13F0C63D-7878-444E-E588-FA0EDD6DB2E5}"/>
          </ac:spMkLst>
        </pc:spChg>
        <pc:graphicFrameChg chg="add mod modVis">
          <ac:chgData name="S, Varatharaj Kannan (365)" userId="4059857b-a82a-4577-ac2c-643e9c05e9a3" providerId="ADAL" clId="{404832C4-EF9D-47E0-A929-2766EC1E0D8E}" dt="2024-11-08T06:54:10.991" v="3976"/>
          <ac:graphicFrameMkLst>
            <pc:docMk/>
            <pc:sldMk cId="496652845" sldId="304"/>
            <ac:graphicFrameMk id="4" creationId="{1247F5DB-9EB5-8D33-6BC5-B8B32425FA1D}"/>
          </ac:graphicFrameMkLst>
        </pc:graphicFrameChg>
        <pc:picChg chg="add mod">
          <ac:chgData name="S, Varatharaj Kannan (365)" userId="4059857b-a82a-4577-ac2c-643e9c05e9a3" providerId="ADAL" clId="{404832C4-EF9D-47E0-A929-2766EC1E0D8E}" dt="2024-11-08T07:01:41.866" v="4046" actId="1076"/>
          <ac:picMkLst>
            <pc:docMk/>
            <pc:sldMk cId="496652845" sldId="304"/>
            <ac:picMk id="8" creationId="{3952702E-9615-E3DF-29AA-C7AE9E9BE911}"/>
          </ac:picMkLst>
        </pc:picChg>
        <pc:cxnChg chg="add mod">
          <ac:chgData name="S, Varatharaj Kannan (365)" userId="4059857b-a82a-4577-ac2c-643e9c05e9a3" providerId="ADAL" clId="{404832C4-EF9D-47E0-A929-2766EC1E0D8E}" dt="2024-11-08T06:55:36.128" v="3977"/>
          <ac:cxnSpMkLst>
            <pc:docMk/>
            <pc:sldMk cId="496652845" sldId="304"/>
            <ac:cxnSpMk id="6" creationId="{DD0D41B3-F9B9-6BC3-7792-1451DBAEF85A}"/>
          </ac:cxnSpMkLst>
        </pc:cxnChg>
      </pc:sldChg>
      <pc:sldChg chg="modSp add mod">
        <pc:chgData name="S, Varatharaj Kannan (365)" userId="4059857b-a82a-4577-ac2c-643e9c05e9a3" providerId="ADAL" clId="{404832C4-EF9D-47E0-A929-2766EC1E0D8E}" dt="2024-11-08T08:11:38.010" v="4413" actId="108"/>
        <pc:sldMkLst>
          <pc:docMk/>
          <pc:sldMk cId="2201668909" sldId="305"/>
        </pc:sldMkLst>
        <pc:spChg chg="mod">
          <ac:chgData name="S, Varatharaj Kannan (365)" userId="4059857b-a82a-4577-ac2c-643e9c05e9a3" providerId="ADAL" clId="{404832C4-EF9D-47E0-A929-2766EC1E0D8E}" dt="2024-11-08T08:06:58.762" v="4366"/>
          <ac:spMkLst>
            <pc:docMk/>
            <pc:sldMk cId="2201668909" sldId="305"/>
            <ac:spMk id="2" creationId="{408593D3-8314-3F89-4088-1E6B9052D088}"/>
          </ac:spMkLst>
        </pc:spChg>
        <pc:spChg chg="mod">
          <ac:chgData name="S, Varatharaj Kannan (365)" userId="4059857b-a82a-4577-ac2c-643e9c05e9a3" providerId="ADAL" clId="{404832C4-EF9D-47E0-A929-2766EC1E0D8E}" dt="2024-11-08T08:11:38.010" v="4413" actId="108"/>
          <ac:spMkLst>
            <pc:docMk/>
            <pc:sldMk cId="2201668909" sldId="305"/>
            <ac:spMk id="6" creationId="{ED1F3788-52DC-BB27-2810-902686A36138}"/>
          </ac:spMkLst>
        </pc:spChg>
      </pc:sldChg>
      <pc:sldChg chg="new del">
        <pc:chgData name="S, Varatharaj Kannan (365)" userId="4059857b-a82a-4577-ac2c-643e9c05e9a3" providerId="ADAL" clId="{404832C4-EF9D-47E0-A929-2766EC1E0D8E}" dt="2024-11-08T08:04:55.934" v="4332" actId="47"/>
        <pc:sldMkLst>
          <pc:docMk/>
          <pc:sldMk cId="3925365176" sldId="305"/>
        </pc:sldMkLst>
      </pc:sldChg>
      <pc:sldChg chg="addSp modSp add mod">
        <pc:chgData name="S, Varatharaj Kannan (365)" userId="4059857b-a82a-4577-ac2c-643e9c05e9a3" providerId="ADAL" clId="{404832C4-EF9D-47E0-A929-2766EC1E0D8E}" dt="2024-11-08T08:18:08.186" v="4501" actId="114"/>
        <pc:sldMkLst>
          <pc:docMk/>
          <pc:sldMk cId="2630010139" sldId="306"/>
        </pc:sldMkLst>
        <pc:spChg chg="mod">
          <ac:chgData name="S, Varatharaj Kannan (365)" userId="4059857b-a82a-4577-ac2c-643e9c05e9a3" providerId="ADAL" clId="{404832C4-EF9D-47E0-A929-2766EC1E0D8E}" dt="2024-11-08T08:12:30.147" v="4427" actId="20577"/>
          <ac:spMkLst>
            <pc:docMk/>
            <pc:sldMk cId="2630010139" sldId="306"/>
            <ac:spMk id="2" creationId="{408593D3-8314-3F89-4088-1E6B9052D088}"/>
          </ac:spMkLst>
        </pc:spChg>
        <pc:spChg chg="add mod">
          <ac:chgData name="S, Varatharaj Kannan (365)" userId="4059857b-a82a-4577-ac2c-643e9c05e9a3" providerId="ADAL" clId="{404832C4-EF9D-47E0-A929-2766EC1E0D8E}" dt="2024-11-08T08:18:08.186" v="4501" actId="114"/>
          <ac:spMkLst>
            <pc:docMk/>
            <pc:sldMk cId="2630010139" sldId="306"/>
            <ac:spMk id="5" creationId="{1770C8D5-8328-B14B-9EEF-A69F2230E7A0}"/>
          </ac:spMkLst>
        </pc:spChg>
        <pc:spChg chg="mod">
          <ac:chgData name="S, Varatharaj Kannan (365)" userId="4059857b-a82a-4577-ac2c-643e9c05e9a3" providerId="ADAL" clId="{404832C4-EF9D-47E0-A929-2766EC1E0D8E}" dt="2024-11-08T08:18:01.111" v="4500" actId="114"/>
          <ac:spMkLst>
            <pc:docMk/>
            <pc:sldMk cId="2630010139" sldId="306"/>
            <ac:spMk id="6" creationId="{ED1F3788-52DC-BB27-2810-902686A36138}"/>
          </ac:spMkLst>
        </pc:spChg>
        <pc:spChg chg="add mod">
          <ac:chgData name="S, Varatharaj Kannan (365)" userId="4059857b-a82a-4577-ac2c-643e9c05e9a3" providerId="ADAL" clId="{404832C4-EF9D-47E0-A929-2766EC1E0D8E}" dt="2024-11-08T08:16:21.438" v="4499" actId="123"/>
          <ac:spMkLst>
            <pc:docMk/>
            <pc:sldMk cId="2630010139" sldId="306"/>
            <ac:spMk id="8" creationId="{BECC033B-0FEF-FD91-26F3-4DC045FDE175}"/>
          </ac:spMkLst>
        </pc:spChg>
      </pc:sldChg>
      <pc:sldChg chg="addSp delSp modSp new mod">
        <pc:chgData name="S, Varatharaj Kannan (365)" userId="4059857b-a82a-4577-ac2c-643e9c05e9a3" providerId="ADAL" clId="{404832C4-EF9D-47E0-A929-2766EC1E0D8E}" dt="2024-11-08T12:10:26.998" v="4531" actId="22"/>
        <pc:sldMkLst>
          <pc:docMk/>
          <pc:sldMk cId="2392456635" sldId="307"/>
        </pc:sldMkLst>
        <pc:spChg chg="del">
          <ac:chgData name="S, Varatharaj Kannan (365)" userId="4059857b-a82a-4577-ac2c-643e9c05e9a3" providerId="ADAL" clId="{404832C4-EF9D-47E0-A929-2766EC1E0D8E}" dt="2024-11-08T12:10:07.273" v="4504" actId="478"/>
          <ac:spMkLst>
            <pc:docMk/>
            <pc:sldMk cId="2392456635" sldId="307"/>
            <ac:spMk id="2" creationId="{B2751305-5DEE-265A-257B-8046D149D70A}"/>
          </ac:spMkLst>
        </pc:spChg>
        <pc:spChg chg="del">
          <ac:chgData name="S, Varatharaj Kannan (365)" userId="4059857b-a82a-4577-ac2c-643e9c05e9a3" providerId="ADAL" clId="{404832C4-EF9D-47E0-A929-2766EC1E0D8E}" dt="2024-11-08T12:10:07.273" v="4504" actId="478"/>
          <ac:spMkLst>
            <pc:docMk/>
            <pc:sldMk cId="2392456635" sldId="307"/>
            <ac:spMk id="3" creationId="{893A0C10-9A14-2CD7-5A88-DD10E7DAABC1}"/>
          </ac:spMkLst>
        </pc:spChg>
        <pc:graphicFrameChg chg="add mod modVis">
          <ac:chgData name="S, Varatharaj Kannan (365)" userId="4059857b-a82a-4577-ac2c-643e9c05e9a3" providerId="ADAL" clId="{404832C4-EF9D-47E0-A929-2766EC1E0D8E}" dt="2024-11-08T12:10:07.807" v="4516"/>
          <ac:graphicFrameMkLst>
            <pc:docMk/>
            <pc:sldMk cId="2392456635" sldId="307"/>
            <ac:graphicFrameMk id="4" creationId="{03C415FB-4243-9DFD-343B-98670DC4E101}"/>
          </ac:graphicFrameMkLst>
        </pc:graphicFrameChg>
        <pc:picChg chg="add">
          <ac:chgData name="S, Varatharaj Kannan (365)" userId="4059857b-a82a-4577-ac2c-643e9c05e9a3" providerId="ADAL" clId="{404832C4-EF9D-47E0-A929-2766EC1E0D8E}" dt="2024-11-08T12:10:26.998" v="4531" actId="22"/>
          <ac:picMkLst>
            <pc:docMk/>
            <pc:sldMk cId="2392456635" sldId="307"/>
            <ac:picMk id="6" creationId="{499FB601-3801-1FC7-54EA-5C24F029B62A}"/>
          </ac:picMkLst>
        </pc:picChg>
      </pc:sldChg>
      <pc:sldChg chg="addSp delSp modSp new mod">
        <pc:chgData name="S, Varatharaj Kannan (365)" userId="4059857b-a82a-4577-ac2c-643e9c05e9a3" providerId="ADAL" clId="{404832C4-EF9D-47E0-A929-2766EC1E0D8E}" dt="2024-11-08T12:10:38.407" v="4532" actId="22"/>
        <pc:sldMkLst>
          <pc:docMk/>
          <pc:sldMk cId="1247251368" sldId="308"/>
        </pc:sldMkLst>
        <pc:spChg chg="del">
          <ac:chgData name="S, Varatharaj Kannan (365)" userId="4059857b-a82a-4577-ac2c-643e9c05e9a3" providerId="ADAL" clId="{404832C4-EF9D-47E0-A929-2766EC1E0D8E}" dt="2024-11-08T12:10:11.150" v="4518" actId="478"/>
          <ac:spMkLst>
            <pc:docMk/>
            <pc:sldMk cId="1247251368" sldId="308"/>
            <ac:spMk id="2" creationId="{E620D9EC-6C2C-E277-967E-39669A81D0B5}"/>
          </ac:spMkLst>
        </pc:spChg>
        <pc:spChg chg="del">
          <ac:chgData name="S, Varatharaj Kannan (365)" userId="4059857b-a82a-4577-ac2c-643e9c05e9a3" providerId="ADAL" clId="{404832C4-EF9D-47E0-A929-2766EC1E0D8E}" dt="2024-11-08T12:10:11.150" v="4518" actId="478"/>
          <ac:spMkLst>
            <pc:docMk/>
            <pc:sldMk cId="1247251368" sldId="308"/>
            <ac:spMk id="3" creationId="{BA20AD18-7363-90D1-5786-3C7488AD1E5F}"/>
          </ac:spMkLst>
        </pc:spChg>
        <pc:graphicFrameChg chg="add mod modVis">
          <ac:chgData name="S, Varatharaj Kannan (365)" userId="4059857b-a82a-4577-ac2c-643e9c05e9a3" providerId="ADAL" clId="{404832C4-EF9D-47E0-A929-2766EC1E0D8E}" dt="2024-11-08T12:10:11.527" v="4530"/>
          <ac:graphicFrameMkLst>
            <pc:docMk/>
            <pc:sldMk cId="1247251368" sldId="308"/>
            <ac:graphicFrameMk id="4" creationId="{F4763D2B-F7C0-02D6-77DF-06C7799502A7}"/>
          </ac:graphicFrameMkLst>
        </pc:graphicFrameChg>
        <pc:picChg chg="add">
          <ac:chgData name="S, Varatharaj Kannan (365)" userId="4059857b-a82a-4577-ac2c-643e9c05e9a3" providerId="ADAL" clId="{404832C4-EF9D-47E0-A929-2766EC1E0D8E}" dt="2024-11-08T12:10:38.407" v="4532" actId="22"/>
          <ac:picMkLst>
            <pc:docMk/>
            <pc:sldMk cId="1247251368" sldId="308"/>
            <ac:picMk id="6" creationId="{63D836CF-CE18-A3F5-1F55-BCEE1A5A8694}"/>
          </ac:picMkLst>
        </pc:picChg>
      </pc:sldChg>
      <pc:sldChg chg="addSp delSp modSp new mod">
        <pc:chgData name="S, Varatharaj Kannan (365)" userId="4059857b-a82a-4577-ac2c-643e9c05e9a3" providerId="ADAL" clId="{404832C4-EF9D-47E0-A929-2766EC1E0D8E}" dt="2024-11-08T12:20:25.889" v="4586" actId="20577"/>
        <pc:sldMkLst>
          <pc:docMk/>
          <pc:sldMk cId="1239245552" sldId="309"/>
        </pc:sldMkLst>
        <pc:spChg chg="del">
          <ac:chgData name="S, Varatharaj Kannan (365)" userId="4059857b-a82a-4577-ac2c-643e9c05e9a3" providerId="ADAL" clId="{404832C4-EF9D-47E0-A929-2766EC1E0D8E}" dt="2024-11-08T12:20:08.480" v="4538" actId="478"/>
          <ac:spMkLst>
            <pc:docMk/>
            <pc:sldMk cId="1239245552" sldId="309"/>
            <ac:spMk id="2" creationId="{A5C79874-D2D6-BF55-0CD1-2DC1A5F02FD3}"/>
          </ac:spMkLst>
        </pc:spChg>
        <pc:spChg chg="del">
          <ac:chgData name="S, Varatharaj Kannan (365)" userId="4059857b-a82a-4577-ac2c-643e9c05e9a3" providerId="ADAL" clId="{404832C4-EF9D-47E0-A929-2766EC1E0D8E}" dt="2024-11-08T12:20:10.348" v="4553" actId="478"/>
          <ac:spMkLst>
            <pc:docMk/>
            <pc:sldMk cId="1239245552" sldId="309"/>
            <ac:spMk id="3" creationId="{3162310C-5277-3CE1-93BB-C3795D968E25}"/>
          </ac:spMkLst>
        </pc:spChg>
        <pc:spChg chg="add mod">
          <ac:chgData name="S, Varatharaj Kannan (365)" userId="4059857b-a82a-4577-ac2c-643e9c05e9a3" providerId="ADAL" clId="{404832C4-EF9D-47E0-A929-2766EC1E0D8E}" dt="2024-11-08T12:20:25.889" v="4586" actId="20577"/>
          <ac:spMkLst>
            <pc:docMk/>
            <pc:sldMk cId="1239245552" sldId="309"/>
            <ac:spMk id="5" creationId="{109E1488-E1D8-F755-234C-6BE16D8C153D}"/>
          </ac:spMkLst>
        </pc:spChg>
        <pc:graphicFrameChg chg="add mod ord modVis">
          <ac:chgData name="S, Varatharaj Kannan (365)" userId="4059857b-a82a-4577-ac2c-643e9c05e9a3" providerId="ADAL" clId="{404832C4-EF9D-47E0-A929-2766EC1E0D8E}" dt="2024-11-08T12:20:09.028" v="4552"/>
          <ac:graphicFrameMkLst>
            <pc:docMk/>
            <pc:sldMk cId="1239245552" sldId="309"/>
            <ac:graphicFrameMk id="4" creationId="{35251FD2-1981-0D36-6236-B957766402CC}"/>
          </ac:graphicFrameMkLst>
        </pc:graphicFrameChg>
      </pc:sldChg>
      <pc:sldChg chg="addSp delSp modSp new mod">
        <pc:chgData name="S, Varatharaj Kannan (365)" userId="4059857b-a82a-4577-ac2c-643e9c05e9a3" providerId="ADAL" clId="{404832C4-EF9D-47E0-A929-2766EC1E0D8E}" dt="2024-11-08T12:44:06.977" v="5079" actId="20577"/>
        <pc:sldMkLst>
          <pc:docMk/>
          <pc:sldMk cId="1379601037" sldId="310"/>
        </pc:sldMkLst>
        <pc:spChg chg="del">
          <ac:chgData name="S, Varatharaj Kannan (365)" userId="4059857b-a82a-4577-ac2c-643e9c05e9a3" providerId="ADAL" clId="{404832C4-EF9D-47E0-A929-2766EC1E0D8E}" dt="2024-11-08T12:27:16.031" v="4675" actId="478"/>
          <ac:spMkLst>
            <pc:docMk/>
            <pc:sldMk cId="1379601037" sldId="310"/>
            <ac:spMk id="2" creationId="{3B89EE97-DAEF-8CD4-2E1B-1FDA509BE8F6}"/>
          </ac:spMkLst>
        </pc:spChg>
        <pc:spChg chg="del">
          <ac:chgData name="S, Varatharaj Kannan (365)" userId="4059857b-a82a-4577-ac2c-643e9c05e9a3" providerId="ADAL" clId="{404832C4-EF9D-47E0-A929-2766EC1E0D8E}" dt="2024-11-08T12:27:16.031" v="4675" actId="478"/>
          <ac:spMkLst>
            <pc:docMk/>
            <pc:sldMk cId="1379601037" sldId="310"/>
            <ac:spMk id="3" creationId="{83202861-63AE-1B74-0A77-1023592EF84C}"/>
          </ac:spMkLst>
        </pc:spChg>
        <pc:spChg chg="add mod">
          <ac:chgData name="S, Varatharaj Kannan (365)" userId="4059857b-a82a-4577-ac2c-643e9c05e9a3" providerId="ADAL" clId="{404832C4-EF9D-47E0-A929-2766EC1E0D8E}" dt="2024-11-08T12:44:06.977" v="5079" actId="20577"/>
          <ac:spMkLst>
            <pc:docMk/>
            <pc:sldMk cId="1379601037" sldId="310"/>
            <ac:spMk id="4" creationId="{C7BA42A1-EAC2-A2F8-E777-C340B2A8ECB6}"/>
          </ac:spMkLst>
        </pc:spChg>
        <pc:spChg chg="add mod">
          <ac:chgData name="S, Varatharaj Kannan (365)" userId="4059857b-a82a-4577-ac2c-643e9c05e9a3" providerId="ADAL" clId="{404832C4-EF9D-47E0-A929-2766EC1E0D8E}" dt="2024-11-08T12:43:29.311" v="5072" actId="1038"/>
          <ac:spMkLst>
            <pc:docMk/>
            <pc:sldMk cId="1379601037" sldId="310"/>
            <ac:spMk id="7" creationId="{3DCAC004-4CFC-4C27-0D46-5EEA968EA1CA}"/>
          </ac:spMkLst>
        </pc:spChg>
        <pc:spChg chg="add mod">
          <ac:chgData name="S, Varatharaj Kannan (365)" userId="4059857b-a82a-4577-ac2c-643e9c05e9a3" providerId="ADAL" clId="{404832C4-EF9D-47E0-A929-2766EC1E0D8E}" dt="2024-11-08T12:43:29.311" v="5072" actId="1038"/>
          <ac:spMkLst>
            <pc:docMk/>
            <pc:sldMk cId="1379601037" sldId="310"/>
            <ac:spMk id="8" creationId="{82A18AEF-D4FA-E642-DAB9-F926C9378D8E}"/>
          </ac:spMkLst>
        </pc:spChg>
        <pc:spChg chg="add mod">
          <ac:chgData name="S, Varatharaj Kannan (365)" userId="4059857b-a82a-4577-ac2c-643e9c05e9a3" providerId="ADAL" clId="{404832C4-EF9D-47E0-A929-2766EC1E0D8E}" dt="2024-11-08T12:43:29.311" v="5072" actId="1038"/>
          <ac:spMkLst>
            <pc:docMk/>
            <pc:sldMk cId="1379601037" sldId="310"/>
            <ac:spMk id="9" creationId="{57407D6B-C5C2-CB8A-E7DD-13998E82D133}"/>
          </ac:spMkLst>
        </pc:spChg>
        <pc:spChg chg="add mod">
          <ac:chgData name="S, Varatharaj Kannan (365)" userId="4059857b-a82a-4577-ac2c-643e9c05e9a3" providerId="ADAL" clId="{404832C4-EF9D-47E0-A929-2766EC1E0D8E}" dt="2024-11-08T12:43:29.311" v="5072" actId="1038"/>
          <ac:spMkLst>
            <pc:docMk/>
            <pc:sldMk cId="1379601037" sldId="310"/>
            <ac:spMk id="10" creationId="{3D860964-9C31-71A0-AAF4-D92A3EF6ADFD}"/>
          </ac:spMkLst>
        </pc:spChg>
        <pc:spChg chg="add mod">
          <ac:chgData name="S, Varatharaj Kannan (365)" userId="4059857b-a82a-4577-ac2c-643e9c05e9a3" providerId="ADAL" clId="{404832C4-EF9D-47E0-A929-2766EC1E0D8E}" dt="2024-11-08T12:43:29.311" v="5072" actId="1038"/>
          <ac:spMkLst>
            <pc:docMk/>
            <pc:sldMk cId="1379601037" sldId="310"/>
            <ac:spMk id="11" creationId="{B4C421A7-FE6A-7163-FD8B-C3ABEA25A746}"/>
          </ac:spMkLst>
        </pc:spChg>
        <pc:spChg chg="add mod">
          <ac:chgData name="S, Varatharaj Kannan (365)" userId="4059857b-a82a-4577-ac2c-643e9c05e9a3" providerId="ADAL" clId="{404832C4-EF9D-47E0-A929-2766EC1E0D8E}" dt="2024-11-08T12:43:29.311" v="5072" actId="1038"/>
          <ac:spMkLst>
            <pc:docMk/>
            <pc:sldMk cId="1379601037" sldId="310"/>
            <ac:spMk id="12" creationId="{70A5B612-90CD-7D08-DA08-1E78E0ABA9AB}"/>
          </ac:spMkLst>
        </pc:spChg>
        <pc:spChg chg="add mod">
          <ac:chgData name="S, Varatharaj Kannan (365)" userId="4059857b-a82a-4577-ac2c-643e9c05e9a3" providerId="ADAL" clId="{404832C4-EF9D-47E0-A929-2766EC1E0D8E}" dt="2024-11-08T12:43:29.311" v="5072" actId="1038"/>
          <ac:spMkLst>
            <pc:docMk/>
            <pc:sldMk cId="1379601037" sldId="310"/>
            <ac:spMk id="13" creationId="{204F034F-E8C2-0099-DFDC-1AD2D9F8C633}"/>
          </ac:spMkLst>
        </pc:spChg>
        <pc:spChg chg="add mod">
          <ac:chgData name="S, Varatharaj Kannan (365)" userId="4059857b-a82a-4577-ac2c-643e9c05e9a3" providerId="ADAL" clId="{404832C4-EF9D-47E0-A929-2766EC1E0D8E}" dt="2024-11-08T12:43:29.311" v="5072" actId="1038"/>
          <ac:spMkLst>
            <pc:docMk/>
            <pc:sldMk cId="1379601037" sldId="310"/>
            <ac:spMk id="14" creationId="{3D246FAD-6D57-E038-8E51-991221190D35}"/>
          </ac:spMkLst>
        </pc:spChg>
        <pc:spChg chg="add del mod">
          <ac:chgData name="S, Varatharaj Kannan (365)" userId="4059857b-a82a-4577-ac2c-643e9c05e9a3" providerId="ADAL" clId="{404832C4-EF9D-47E0-A929-2766EC1E0D8E}" dt="2024-11-08T12:41:34.244" v="5033" actId="478"/>
          <ac:spMkLst>
            <pc:docMk/>
            <pc:sldMk cId="1379601037" sldId="310"/>
            <ac:spMk id="16" creationId="{5E7C56C9-B82F-C411-FC6A-FA4698828FF4}"/>
          </ac:spMkLst>
        </pc:spChg>
        <pc:spChg chg="add del mod">
          <ac:chgData name="S, Varatharaj Kannan (365)" userId="4059857b-a82a-4577-ac2c-643e9c05e9a3" providerId="ADAL" clId="{404832C4-EF9D-47E0-A929-2766EC1E0D8E}" dt="2024-11-08T12:41:50.654" v="5040" actId="478"/>
          <ac:spMkLst>
            <pc:docMk/>
            <pc:sldMk cId="1379601037" sldId="310"/>
            <ac:spMk id="18" creationId="{CF739AD1-D430-81C6-999A-0A762F05FF6B}"/>
          </ac:spMkLst>
        </pc:spChg>
        <pc:spChg chg="add del mod">
          <ac:chgData name="S, Varatharaj Kannan (365)" userId="4059857b-a82a-4577-ac2c-643e9c05e9a3" providerId="ADAL" clId="{404832C4-EF9D-47E0-A929-2766EC1E0D8E}" dt="2024-11-08T12:42:01.540" v="5043" actId="478"/>
          <ac:spMkLst>
            <pc:docMk/>
            <pc:sldMk cId="1379601037" sldId="310"/>
            <ac:spMk id="20" creationId="{38FEB6E7-1168-FBB9-18DE-091BB39C1317}"/>
          </ac:spMkLst>
        </pc:spChg>
        <pc:spChg chg="add del mod">
          <ac:chgData name="S, Varatharaj Kannan (365)" userId="4059857b-a82a-4577-ac2c-643e9c05e9a3" providerId="ADAL" clId="{404832C4-EF9D-47E0-A929-2766EC1E0D8E}" dt="2024-11-08T12:42:11.620" v="5047" actId="478"/>
          <ac:spMkLst>
            <pc:docMk/>
            <pc:sldMk cId="1379601037" sldId="310"/>
            <ac:spMk id="22" creationId="{E31AF518-1BE4-E638-3927-AF7F56AEDDDC}"/>
          </ac:spMkLst>
        </pc:spChg>
        <pc:spChg chg="add del mod">
          <ac:chgData name="S, Varatharaj Kannan (365)" userId="4059857b-a82a-4577-ac2c-643e9c05e9a3" providerId="ADAL" clId="{404832C4-EF9D-47E0-A929-2766EC1E0D8E}" dt="2024-11-08T12:42:23.252" v="5051" actId="478"/>
          <ac:spMkLst>
            <pc:docMk/>
            <pc:sldMk cId="1379601037" sldId="310"/>
            <ac:spMk id="24" creationId="{DBC3D3F8-8924-151D-9628-8489FF61CCAB}"/>
          </ac:spMkLst>
        </pc:spChg>
        <pc:spChg chg="add del mod">
          <ac:chgData name="S, Varatharaj Kannan (365)" userId="4059857b-a82a-4577-ac2c-643e9c05e9a3" providerId="ADAL" clId="{404832C4-EF9D-47E0-A929-2766EC1E0D8E}" dt="2024-11-08T12:38:38.435" v="4981" actId="478"/>
          <ac:spMkLst>
            <pc:docMk/>
            <pc:sldMk cId="1379601037" sldId="310"/>
            <ac:spMk id="26" creationId="{A5B35E91-6296-AD8C-1C9D-D96D351C9B81}"/>
          </ac:spMkLst>
        </pc:spChg>
        <pc:spChg chg="add del mod">
          <ac:chgData name="S, Varatharaj Kannan (365)" userId="4059857b-a82a-4577-ac2c-643e9c05e9a3" providerId="ADAL" clId="{404832C4-EF9D-47E0-A929-2766EC1E0D8E}" dt="2024-11-08T12:39:52.568" v="5015" actId="478"/>
          <ac:spMkLst>
            <pc:docMk/>
            <pc:sldMk cId="1379601037" sldId="310"/>
            <ac:spMk id="28" creationId="{FAF420AA-9212-9456-66B3-06622EDAC343}"/>
          </ac:spMkLst>
        </pc:spChg>
        <pc:spChg chg="add del mod">
          <ac:chgData name="S, Varatharaj Kannan (365)" userId="4059857b-a82a-4577-ac2c-643e9c05e9a3" providerId="ADAL" clId="{404832C4-EF9D-47E0-A929-2766EC1E0D8E}" dt="2024-11-08T12:39:38.293" v="5010" actId="478"/>
          <ac:spMkLst>
            <pc:docMk/>
            <pc:sldMk cId="1379601037" sldId="310"/>
            <ac:spMk id="29" creationId="{6AEF18EA-D29A-D85F-A3C3-59CC7BC9E821}"/>
          </ac:spMkLst>
        </pc:spChg>
        <pc:spChg chg="add del mod">
          <ac:chgData name="S, Varatharaj Kannan (365)" userId="4059857b-a82a-4577-ac2c-643e9c05e9a3" providerId="ADAL" clId="{404832C4-EF9D-47E0-A929-2766EC1E0D8E}" dt="2024-11-08T12:39:26.235" v="5005" actId="478"/>
          <ac:spMkLst>
            <pc:docMk/>
            <pc:sldMk cId="1379601037" sldId="310"/>
            <ac:spMk id="31" creationId="{18D170C2-76EB-D571-6E95-80A8215809B2}"/>
          </ac:spMkLst>
        </pc:spChg>
        <pc:spChg chg="add del mod">
          <ac:chgData name="S, Varatharaj Kannan (365)" userId="4059857b-a82a-4577-ac2c-643e9c05e9a3" providerId="ADAL" clId="{404832C4-EF9D-47E0-A929-2766EC1E0D8E}" dt="2024-11-08T12:39:14.250" v="5001" actId="478"/>
          <ac:spMkLst>
            <pc:docMk/>
            <pc:sldMk cId="1379601037" sldId="310"/>
            <ac:spMk id="33" creationId="{B82C9DDD-6EF3-91DA-384C-B3A53F12FD31}"/>
          </ac:spMkLst>
        </pc:spChg>
        <pc:spChg chg="add mod">
          <ac:chgData name="S, Varatharaj Kannan (365)" userId="4059857b-a82a-4577-ac2c-643e9c05e9a3" providerId="ADAL" clId="{404832C4-EF9D-47E0-A929-2766EC1E0D8E}" dt="2024-11-08T12:43:29.311" v="5072" actId="1038"/>
          <ac:spMkLst>
            <pc:docMk/>
            <pc:sldMk cId="1379601037" sldId="310"/>
            <ac:spMk id="34" creationId="{91195986-F14C-98C3-F91F-C4A3483447F0}"/>
          </ac:spMkLst>
        </pc:spChg>
        <pc:spChg chg="add mod">
          <ac:chgData name="S, Varatharaj Kannan (365)" userId="4059857b-a82a-4577-ac2c-643e9c05e9a3" providerId="ADAL" clId="{404832C4-EF9D-47E0-A929-2766EC1E0D8E}" dt="2024-11-08T12:43:29.311" v="5072" actId="1038"/>
          <ac:spMkLst>
            <pc:docMk/>
            <pc:sldMk cId="1379601037" sldId="310"/>
            <ac:spMk id="35" creationId="{AA1DDBE1-52B7-D694-82A7-0C9569A271F2}"/>
          </ac:spMkLst>
        </pc:spChg>
        <pc:spChg chg="add del mod">
          <ac:chgData name="S, Varatharaj Kannan (365)" userId="4059857b-a82a-4577-ac2c-643e9c05e9a3" providerId="ADAL" clId="{404832C4-EF9D-47E0-A929-2766EC1E0D8E}" dt="2024-11-08T12:39:46.150" v="5012" actId="478"/>
          <ac:spMkLst>
            <pc:docMk/>
            <pc:sldMk cId="1379601037" sldId="310"/>
            <ac:spMk id="36" creationId="{21A7C793-5819-3AF8-DB23-285EEE4B696F}"/>
          </ac:spMkLst>
        </pc:spChg>
        <pc:spChg chg="add mod">
          <ac:chgData name="S, Varatharaj Kannan (365)" userId="4059857b-a82a-4577-ac2c-643e9c05e9a3" providerId="ADAL" clId="{404832C4-EF9D-47E0-A929-2766EC1E0D8E}" dt="2024-11-08T12:43:29.311" v="5072" actId="1038"/>
          <ac:spMkLst>
            <pc:docMk/>
            <pc:sldMk cId="1379601037" sldId="310"/>
            <ac:spMk id="37" creationId="{BE15B4AB-721C-AFEE-2662-55B11036B65C}"/>
          </ac:spMkLst>
        </pc:spChg>
        <pc:spChg chg="add mod">
          <ac:chgData name="S, Varatharaj Kannan (365)" userId="4059857b-a82a-4577-ac2c-643e9c05e9a3" providerId="ADAL" clId="{404832C4-EF9D-47E0-A929-2766EC1E0D8E}" dt="2024-11-08T12:43:29.311" v="5072" actId="1038"/>
          <ac:spMkLst>
            <pc:docMk/>
            <pc:sldMk cId="1379601037" sldId="310"/>
            <ac:spMk id="38" creationId="{11335253-CBD7-72EC-8ADA-75827C536A41}"/>
          </ac:spMkLst>
        </pc:spChg>
        <pc:spChg chg="add mod">
          <ac:chgData name="S, Varatharaj Kannan (365)" userId="4059857b-a82a-4577-ac2c-643e9c05e9a3" providerId="ADAL" clId="{404832C4-EF9D-47E0-A929-2766EC1E0D8E}" dt="2024-11-08T12:43:29.311" v="5072" actId="1038"/>
          <ac:spMkLst>
            <pc:docMk/>
            <pc:sldMk cId="1379601037" sldId="310"/>
            <ac:spMk id="39" creationId="{639B12AE-084F-8FC1-F2FB-140B9C2A1CA0}"/>
          </ac:spMkLst>
        </pc:spChg>
        <pc:spChg chg="add mod">
          <ac:chgData name="S, Varatharaj Kannan (365)" userId="4059857b-a82a-4577-ac2c-643e9c05e9a3" providerId="ADAL" clId="{404832C4-EF9D-47E0-A929-2766EC1E0D8E}" dt="2024-11-08T12:43:29.311" v="5072" actId="1038"/>
          <ac:spMkLst>
            <pc:docMk/>
            <pc:sldMk cId="1379601037" sldId="310"/>
            <ac:spMk id="40" creationId="{0994F1C2-0B78-4772-970C-BBDE93BED7D0}"/>
          </ac:spMkLst>
        </pc:spChg>
        <pc:spChg chg="add mod">
          <ac:chgData name="S, Varatharaj Kannan (365)" userId="4059857b-a82a-4577-ac2c-643e9c05e9a3" providerId="ADAL" clId="{404832C4-EF9D-47E0-A929-2766EC1E0D8E}" dt="2024-11-08T12:43:29.311" v="5072" actId="1038"/>
          <ac:spMkLst>
            <pc:docMk/>
            <pc:sldMk cId="1379601037" sldId="310"/>
            <ac:spMk id="41" creationId="{24216325-A72A-E941-7633-F60608C79FCD}"/>
          </ac:spMkLst>
        </pc:spChg>
        <pc:spChg chg="add mod">
          <ac:chgData name="S, Varatharaj Kannan (365)" userId="4059857b-a82a-4577-ac2c-643e9c05e9a3" providerId="ADAL" clId="{404832C4-EF9D-47E0-A929-2766EC1E0D8E}" dt="2024-11-08T12:43:29.311" v="5072" actId="1038"/>
          <ac:spMkLst>
            <pc:docMk/>
            <pc:sldMk cId="1379601037" sldId="310"/>
            <ac:spMk id="42" creationId="{0C2C70F6-EA9B-D38F-4586-E025008973AE}"/>
          </ac:spMkLst>
        </pc:spChg>
        <pc:spChg chg="add mod">
          <ac:chgData name="S, Varatharaj Kannan (365)" userId="4059857b-a82a-4577-ac2c-643e9c05e9a3" providerId="ADAL" clId="{404832C4-EF9D-47E0-A929-2766EC1E0D8E}" dt="2024-11-08T12:43:29.311" v="5072" actId="1038"/>
          <ac:spMkLst>
            <pc:docMk/>
            <pc:sldMk cId="1379601037" sldId="310"/>
            <ac:spMk id="43" creationId="{5193C86D-53A4-2E9C-445B-F1076B96DE46}"/>
          </ac:spMkLst>
        </pc:spChg>
        <pc:spChg chg="add mod">
          <ac:chgData name="S, Varatharaj Kannan (365)" userId="4059857b-a82a-4577-ac2c-643e9c05e9a3" providerId="ADAL" clId="{404832C4-EF9D-47E0-A929-2766EC1E0D8E}" dt="2024-11-08T12:43:29.311" v="5072" actId="1038"/>
          <ac:spMkLst>
            <pc:docMk/>
            <pc:sldMk cId="1379601037" sldId="310"/>
            <ac:spMk id="44" creationId="{06692382-7633-85D3-A81D-3EB70B733390}"/>
          </ac:spMkLst>
        </pc:spChg>
        <pc:graphicFrameChg chg="add mod ord modVis">
          <ac:chgData name="S, Varatharaj Kannan (365)" userId="4059857b-a82a-4577-ac2c-643e9c05e9a3" providerId="ADAL" clId="{404832C4-EF9D-47E0-A929-2766EC1E0D8E}" dt="2024-11-08T12:27:16.644" v="4690"/>
          <ac:graphicFrameMkLst>
            <pc:docMk/>
            <pc:sldMk cId="1379601037" sldId="310"/>
            <ac:graphicFrameMk id="6" creationId="{ACFBF5BA-FFA3-94CD-9FF0-7BA23A3D3E1D}"/>
          </ac:graphicFrameMkLst>
        </pc:graphicFrameChg>
        <pc:cxnChg chg="add mod">
          <ac:chgData name="S, Varatharaj Kannan (365)" userId="4059857b-a82a-4577-ac2c-643e9c05e9a3" providerId="ADAL" clId="{404832C4-EF9D-47E0-A929-2766EC1E0D8E}" dt="2024-11-08T12:27:16.524" v="4676"/>
          <ac:cxnSpMkLst>
            <pc:docMk/>
            <pc:sldMk cId="1379601037" sldId="310"/>
            <ac:cxnSpMk id="5" creationId="{02CE551A-CC0F-2F53-62E3-8EB142ABD547}"/>
          </ac:cxnSpMkLst>
        </pc:cxnChg>
      </pc:sldChg>
      <pc:sldChg chg="addSp delSp modSp add mod">
        <pc:chgData name="S, Varatharaj Kannan (365)" userId="4059857b-a82a-4577-ac2c-643e9c05e9a3" providerId="ADAL" clId="{404832C4-EF9D-47E0-A929-2766EC1E0D8E}" dt="2024-11-08T12:46:43.511" v="5115" actId="1076"/>
        <pc:sldMkLst>
          <pc:docMk/>
          <pc:sldMk cId="1936852521" sldId="311"/>
        </pc:sldMkLst>
        <pc:spChg chg="add mod">
          <ac:chgData name="S, Varatharaj Kannan (365)" userId="4059857b-a82a-4577-ac2c-643e9c05e9a3" providerId="ADAL" clId="{404832C4-EF9D-47E0-A929-2766EC1E0D8E}" dt="2024-11-08T12:46:40.006" v="5114" actId="2710"/>
          <ac:spMkLst>
            <pc:docMk/>
            <pc:sldMk cId="1936852521" sldId="311"/>
            <ac:spMk id="3" creationId="{9B20C3BC-5FE8-ACC4-250E-C091666C91BF}"/>
          </ac:spMkLst>
        </pc:spChg>
        <pc:spChg chg="mod">
          <ac:chgData name="S, Varatharaj Kannan (365)" userId="4059857b-a82a-4577-ac2c-643e9c05e9a3" providerId="ADAL" clId="{404832C4-EF9D-47E0-A929-2766EC1E0D8E}" dt="2024-11-08T12:44:12.346" v="5080" actId="6549"/>
          <ac:spMkLst>
            <pc:docMk/>
            <pc:sldMk cId="1936852521" sldId="311"/>
            <ac:spMk id="4" creationId="{C7BA42A1-EAC2-A2F8-E777-C340B2A8ECB6}"/>
          </ac:spMkLst>
        </pc:spChg>
        <pc:spChg chg="del">
          <ac:chgData name="S, Varatharaj Kannan (365)" userId="4059857b-a82a-4577-ac2c-643e9c05e9a3" providerId="ADAL" clId="{404832C4-EF9D-47E0-A929-2766EC1E0D8E}" dt="2024-11-08T12:44:15.602" v="5081" actId="478"/>
          <ac:spMkLst>
            <pc:docMk/>
            <pc:sldMk cId="1936852521" sldId="311"/>
            <ac:spMk id="7" creationId="{3DCAC004-4CFC-4C27-0D46-5EEA968EA1CA}"/>
          </ac:spMkLst>
        </pc:spChg>
        <pc:spChg chg="del">
          <ac:chgData name="S, Varatharaj Kannan (365)" userId="4059857b-a82a-4577-ac2c-643e9c05e9a3" providerId="ADAL" clId="{404832C4-EF9D-47E0-A929-2766EC1E0D8E}" dt="2024-11-08T12:44:15.602" v="5081" actId="478"/>
          <ac:spMkLst>
            <pc:docMk/>
            <pc:sldMk cId="1936852521" sldId="311"/>
            <ac:spMk id="8" creationId="{82A18AEF-D4FA-E642-DAB9-F926C9378D8E}"/>
          </ac:spMkLst>
        </pc:spChg>
        <pc:spChg chg="del">
          <ac:chgData name="S, Varatharaj Kannan (365)" userId="4059857b-a82a-4577-ac2c-643e9c05e9a3" providerId="ADAL" clId="{404832C4-EF9D-47E0-A929-2766EC1E0D8E}" dt="2024-11-08T12:44:15.602" v="5081" actId="478"/>
          <ac:spMkLst>
            <pc:docMk/>
            <pc:sldMk cId="1936852521" sldId="311"/>
            <ac:spMk id="9" creationId="{57407D6B-C5C2-CB8A-E7DD-13998E82D133}"/>
          </ac:spMkLst>
        </pc:spChg>
        <pc:spChg chg="del">
          <ac:chgData name="S, Varatharaj Kannan (365)" userId="4059857b-a82a-4577-ac2c-643e9c05e9a3" providerId="ADAL" clId="{404832C4-EF9D-47E0-A929-2766EC1E0D8E}" dt="2024-11-08T12:44:15.602" v="5081" actId="478"/>
          <ac:spMkLst>
            <pc:docMk/>
            <pc:sldMk cId="1936852521" sldId="311"/>
            <ac:spMk id="10" creationId="{3D860964-9C31-71A0-AAF4-D92A3EF6ADFD}"/>
          </ac:spMkLst>
        </pc:spChg>
        <pc:spChg chg="del">
          <ac:chgData name="S, Varatharaj Kannan (365)" userId="4059857b-a82a-4577-ac2c-643e9c05e9a3" providerId="ADAL" clId="{404832C4-EF9D-47E0-A929-2766EC1E0D8E}" dt="2024-11-08T12:44:15.602" v="5081" actId="478"/>
          <ac:spMkLst>
            <pc:docMk/>
            <pc:sldMk cId="1936852521" sldId="311"/>
            <ac:spMk id="11" creationId="{B4C421A7-FE6A-7163-FD8B-C3ABEA25A746}"/>
          </ac:spMkLst>
        </pc:spChg>
        <pc:spChg chg="del">
          <ac:chgData name="S, Varatharaj Kannan (365)" userId="4059857b-a82a-4577-ac2c-643e9c05e9a3" providerId="ADAL" clId="{404832C4-EF9D-47E0-A929-2766EC1E0D8E}" dt="2024-11-08T12:44:15.602" v="5081" actId="478"/>
          <ac:spMkLst>
            <pc:docMk/>
            <pc:sldMk cId="1936852521" sldId="311"/>
            <ac:spMk id="12" creationId="{70A5B612-90CD-7D08-DA08-1E78E0ABA9AB}"/>
          </ac:spMkLst>
        </pc:spChg>
        <pc:spChg chg="del">
          <ac:chgData name="S, Varatharaj Kannan (365)" userId="4059857b-a82a-4577-ac2c-643e9c05e9a3" providerId="ADAL" clId="{404832C4-EF9D-47E0-A929-2766EC1E0D8E}" dt="2024-11-08T12:44:15.602" v="5081" actId="478"/>
          <ac:spMkLst>
            <pc:docMk/>
            <pc:sldMk cId="1936852521" sldId="311"/>
            <ac:spMk id="13" creationId="{204F034F-E8C2-0099-DFDC-1AD2D9F8C633}"/>
          </ac:spMkLst>
        </pc:spChg>
        <pc:spChg chg="del">
          <ac:chgData name="S, Varatharaj Kannan (365)" userId="4059857b-a82a-4577-ac2c-643e9c05e9a3" providerId="ADAL" clId="{404832C4-EF9D-47E0-A929-2766EC1E0D8E}" dt="2024-11-08T12:44:15.602" v="5081" actId="478"/>
          <ac:spMkLst>
            <pc:docMk/>
            <pc:sldMk cId="1936852521" sldId="311"/>
            <ac:spMk id="14" creationId="{3D246FAD-6D57-E038-8E51-991221190D35}"/>
          </ac:spMkLst>
        </pc:spChg>
        <pc:spChg chg="del">
          <ac:chgData name="S, Varatharaj Kannan (365)" userId="4059857b-a82a-4577-ac2c-643e9c05e9a3" providerId="ADAL" clId="{404832C4-EF9D-47E0-A929-2766EC1E0D8E}" dt="2024-11-08T12:44:15.602" v="5081" actId="478"/>
          <ac:spMkLst>
            <pc:docMk/>
            <pc:sldMk cId="1936852521" sldId="311"/>
            <ac:spMk id="34" creationId="{91195986-F14C-98C3-F91F-C4A3483447F0}"/>
          </ac:spMkLst>
        </pc:spChg>
        <pc:spChg chg="del">
          <ac:chgData name="S, Varatharaj Kannan (365)" userId="4059857b-a82a-4577-ac2c-643e9c05e9a3" providerId="ADAL" clId="{404832C4-EF9D-47E0-A929-2766EC1E0D8E}" dt="2024-11-08T12:44:15.602" v="5081" actId="478"/>
          <ac:spMkLst>
            <pc:docMk/>
            <pc:sldMk cId="1936852521" sldId="311"/>
            <ac:spMk id="35" creationId="{AA1DDBE1-52B7-D694-82A7-0C9569A271F2}"/>
          </ac:spMkLst>
        </pc:spChg>
        <pc:spChg chg="del">
          <ac:chgData name="S, Varatharaj Kannan (365)" userId="4059857b-a82a-4577-ac2c-643e9c05e9a3" providerId="ADAL" clId="{404832C4-EF9D-47E0-A929-2766EC1E0D8E}" dt="2024-11-08T12:44:15.602" v="5081" actId="478"/>
          <ac:spMkLst>
            <pc:docMk/>
            <pc:sldMk cId="1936852521" sldId="311"/>
            <ac:spMk id="37" creationId="{BE15B4AB-721C-AFEE-2662-55B11036B65C}"/>
          </ac:spMkLst>
        </pc:spChg>
        <pc:spChg chg="del">
          <ac:chgData name="S, Varatharaj Kannan (365)" userId="4059857b-a82a-4577-ac2c-643e9c05e9a3" providerId="ADAL" clId="{404832C4-EF9D-47E0-A929-2766EC1E0D8E}" dt="2024-11-08T12:44:15.602" v="5081" actId="478"/>
          <ac:spMkLst>
            <pc:docMk/>
            <pc:sldMk cId="1936852521" sldId="311"/>
            <ac:spMk id="38" creationId="{11335253-CBD7-72EC-8ADA-75827C536A41}"/>
          </ac:spMkLst>
        </pc:spChg>
        <pc:spChg chg="del">
          <ac:chgData name="S, Varatharaj Kannan (365)" userId="4059857b-a82a-4577-ac2c-643e9c05e9a3" providerId="ADAL" clId="{404832C4-EF9D-47E0-A929-2766EC1E0D8E}" dt="2024-11-08T12:44:15.602" v="5081" actId="478"/>
          <ac:spMkLst>
            <pc:docMk/>
            <pc:sldMk cId="1936852521" sldId="311"/>
            <ac:spMk id="39" creationId="{639B12AE-084F-8FC1-F2FB-140B9C2A1CA0}"/>
          </ac:spMkLst>
        </pc:spChg>
        <pc:spChg chg="del">
          <ac:chgData name="S, Varatharaj Kannan (365)" userId="4059857b-a82a-4577-ac2c-643e9c05e9a3" providerId="ADAL" clId="{404832C4-EF9D-47E0-A929-2766EC1E0D8E}" dt="2024-11-08T12:44:15.602" v="5081" actId="478"/>
          <ac:spMkLst>
            <pc:docMk/>
            <pc:sldMk cId="1936852521" sldId="311"/>
            <ac:spMk id="40" creationId="{0994F1C2-0B78-4772-970C-BBDE93BED7D0}"/>
          </ac:spMkLst>
        </pc:spChg>
        <pc:spChg chg="del">
          <ac:chgData name="S, Varatharaj Kannan (365)" userId="4059857b-a82a-4577-ac2c-643e9c05e9a3" providerId="ADAL" clId="{404832C4-EF9D-47E0-A929-2766EC1E0D8E}" dt="2024-11-08T12:44:15.602" v="5081" actId="478"/>
          <ac:spMkLst>
            <pc:docMk/>
            <pc:sldMk cId="1936852521" sldId="311"/>
            <ac:spMk id="41" creationId="{24216325-A72A-E941-7633-F60608C79FCD}"/>
          </ac:spMkLst>
        </pc:spChg>
        <pc:spChg chg="del">
          <ac:chgData name="S, Varatharaj Kannan (365)" userId="4059857b-a82a-4577-ac2c-643e9c05e9a3" providerId="ADAL" clId="{404832C4-EF9D-47E0-A929-2766EC1E0D8E}" dt="2024-11-08T12:44:15.602" v="5081" actId="478"/>
          <ac:spMkLst>
            <pc:docMk/>
            <pc:sldMk cId="1936852521" sldId="311"/>
            <ac:spMk id="42" creationId="{0C2C70F6-EA9B-D38F-4586-E025008973AE}"/>
          </ac:spMkLst>
        </pc:spChg>
        <pc:spChg chg="del">
          <ac:chgData name="S, Varatharaj Kannan (365)" userId="4059857b-a82a-4577-ac2c-643e9c05e9a3" providerId="ADAL" clId="{404832C4-EF9D-47E0-A929-2766EC1E0D8E}" dt="2024-11-08T12:44:15.602" v="5081" actId="478"/>
          <ac:spMkLst>
            <pc:docMk/>
            <pc:sldMk cId="1936852521" sldId="311"/>
            <ac:spMk id="43" creationId="{5193C86D-53A4-2E9C-445B-F1076B96DE46}"/>
          </ac:spMkLst>
        </pc:spChg>
        <pc:spChg chg="del">
          <ac:chgData name="S, Varatharaj Kannan (365)" userId="4059857b-a82a-4577-ac2c-643e9c05e9a3" providerId="ADAL" clId="{404832C4-EF9D-47E0-A929-2766EC1E0D8E}" dt="2024-11-08T12:44:15.602" v="5081" actId="478"/>
          <ac:spMkLst>
            <pc:docMk/>
            <pc:sldMk cId="1936852521" sldId="311"/>
            <ac:spMk id="44" creationId="{06692382-7633-85D3-A81D-3EB70B733390}"/>
          </ac:spMkLst>
        </pc:spChg>
        <pc:picChg chg="add mod">
          <ac:chgData name="S, Varatharaj Kannan (365)" userId="4059857b-a82a-4577-ac2c-643e9c05e9a3" providerId="ADAL" clId="{404832C4-EF9D-47E0-A929-2766EC1E0D8E}" dt="2024-11-08T12:46:43.511" v="5115" actId="1076"/>
          <ac:picMkLst>
            <pc:docMk/>
            <pc:sldMk cId="1936852521" sldId="311"/>
            <ac:picMk id="2050" creationId="{47B14D6E-14D0-2199-514A-1EB3A27D5367}"/>
          </ac:picMkLst>
        </pc:picChg>
        <pc:picChg chg="add mod">
          <ac:chgData name="S, Varatharaj Kannan (365)" userId="4059857b-a82a-4577-ac2c-643e9c05e9a3" providerId="ADAL" clId="{404832C4-EF9D-47E0-A929-2766EC1E0D8E}" dt="2024-11-08T12:46:43.511" v="5115" actId="1076"/>
          <ac:picMkLst>
            <pc:docMk/>
            <pc:sldMk cId="1936852521" sldId="311"/>
            <ac:picMk id="2052" creationId="{7D887880-AAA6-BA68-1D20-8583FE9D718A}"/>
          </ac:picMkLst>
        </pc:picChg>
        <pc:picChg chg="add mod">
          <ac:chgData name="S, Varatharaj Kannan (365)" userId="4059857b-a82a-4577-ac2c-643e9c05e9a3" providerId="ADAL" clId="{404832C4-EF9D-47E0-A929-2766EC1E0D8E}" dt="2024-11-08T12:46:43.511" v="5115" actId="1076"/>
          <ac:picMkLst>
            <pc:docMk/>
            <pc:sldMk cId="1936852521" sldId="311"/>
            <ac:picMk id="2054" creationId="{0327E64A-B884-3CB5-0C00-A40BAFF9255C}"/>
          </ac:picMkLst>
        </pc:picChg>
        <pc:picChg chg="add mod">
          <ac:chgData name="S, Varatharaj Kannan (365)" userId="4059857b-a82a-4577-ac2c-643e9c05e9a3" providerId="ADAL" clId="{404832C4-EF9D-47E0-A929-2766EC1E0D8E}" dt="2024-11-08T12:46:43.511" v="5115" actId="1076"/>
          <ac:picMkLst>
            <pc:docMk/>
            <pc:sldMk cId="1936852521" sldId="311"/>
            <ac:picMk id="2056" creationId="{2AA51F04-2A08-B220-202E-9135DD5E2C58}"/>
          </ac:picMkLst>
        </pc:picChg>
        <pc:picChg chg="add mod">
          <ac:chgData name="S, Varatharaj Kannan (365)" userId="4059857b-a82a-4577-ac2c-643e9c05e9a3" providerId="ADAL" clId="{404832C4-EF9D-47E0-A929-2766EC1E0D8E}" dt="2024-11-08T12:46:43.511" v="5115" actId="1076"/>
          <ac:picMkLst>
            <pc:docMk/>
            <pc:sldMk cId="1936852521" sldId="311"/>
            <ac:picMk id="2058" creationId="{FCE12119-5B37-840E-CDA8-5D5AB041B739}"/>
          </ac:picMkLst>
        </pc:picChg>
      </pc:sldChg>
      <pc:sldChg chg="addSp delSp modSp new mod">
        <pc:chgData name="S, Varatharaj Kannan (365)" userId="4059857b-a82a-4577-ac2c-643e9c05e9a3" providerId="ADAL" clId="{404832C4-EF9D-47E0-A929-2766EC1E0D8E}" dt="2024-11-08T12:48:32.453" v="5134" actId="1076"/>
        <pc:sldMkLst>
          <pc:docMk/>
          <pc:sldMk cId="1420886168" sldId="312"/>
        </pc:sldMkLst>
        <pc:spChg chg="del">
          <ac:chgData name="S, Varatharaj Kannan (365)" userId="4059857b-a82a-4577-ac2c-643e9c05e9a3" providerId="ADAL" clId="{404832C4-EF9D-47E0-A929-2766EC1E0D8E}" dt="2024-11-08T12:47:29.006" v="5117" actId="478"/>
          <ac:spMkLst>
            <pc:docMk/>
            <pc:sldMk cId="1420886168" sldId="312"/>
            <ac:spMk id="2" creationId="{6FB97B66-C03E-39F2-2200-5C618DD90C52}"/>
          </ac:spMkLst>
        </pc:spChg>
        <pc:spChg chg="del">
          <ac:chgData name="S, Varatharaj Kannan (365)" userId="4059857b-a82a-4577-ac2c-643e9c05e9a3" providerId="ADAL" clId="{404832C4-EF9D-47E0-A929-2766EC1E0D8E}" dt="2024-11-08T12:47:29.006" v="5117" actId="478"/>
          <ac:spMkLst>
            <pc:docMk/>
            <pc:sldMk cId="1420886168" sldId="312"/>
            <ac:spMk id="3" creationId="{A0F0D490-62C3-A049-F3AD-44F1EAC68014}"/>
          </ac:spMkLst>
        </pc:spChg>
        <pc:graphicFrameChg chg="add mod modVis">
          <ac:chgData name="S, Varatharaj Kannan (365)" userId="4059857b-a82a-4577-ac2c-643e9c05e9a3" providerId="ADAL" clId="{404832C4-EF9D-47E0-A929-2766EC1E0D8E}" dt="2024-11-08T12:47:29.604" v="5129"/>
          <ac:graphicFrameMkLst>
            <pc:docMk/>
            <pc:sldMk cId="1420886168" sldId="312"/>
            <ac:graphicFrameMk id="4" creationId="{DFBC892B-A993-E7A4-15BB-1EBED4DFA74D}"/>
          </ac:graphicFrameMkLst>
        </pc:graphicFrameChg>
        <pc:picChg chg="add mod">
          <ac:chgData name="S, Varatharaj Kannan (365)" userId="4059857b-a82a-4577-ac2c-643e9c05e9a3" providerId="ADAL" clId="{404832C4-EF9D-47E0-A929-2766EC1E0D8E}" dt="2024-11-08T12:48:32.453" v="5134" actId="1076"/>
          <ac:picMkLst>
            <pc:docMk/>
            <pc:sldMk cId="1420886168" sldId="312"/>
            <ac:picMk id="4098" creationId="{80AD3123-33F8-C33E-8349-AF8BD3C9BE05}"/>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4E84D22-1840-444C-BBFC-2EF1D57FD1AD}" type="doc">
      <dgm:prSet loTypeId="urn:microsoft.com/office/officeart/2005/8/layout/process1" loCatId="process" qsTypeId="urn:microsoft.com/office/officeart/2005/8/quickstyle/simple1" qsCatId="simple" csTypeId="urn:microsoft.com/office/officeart/2005/8/colors/colorful2" csCatId="colorful" phldr="1"/>
      <dgm:spPr/>
    </dgm:pt>
    <dgm:pt modelId="{1BF53397-4378-415D-84A9-01B615F26882}">
      <dgm:prSet phldrT="[Text]" custT="1"/>
      <dgm:spPr/>
      <dgm:t>
        <a:bodyPr/>
        <a:lstStyle/>
        <a:p>
          <a:r>
            <a:rPr lang="en-IN" sz="1000" b="1" dirty="0">
              <a:solidFill>
                <a:schemeClr val="bg1"/>
              </a:solidFill>
            </a:rPr>
            <a:t>Data Collection</a:t>
          </a:r>
        </a:p>
      </dgm:t>
    </dgm:pt>
    <dgm:pt modelId="{C44261D9-13AF-4D57-A570-178E828EFC0D}" type="parTrans" cxnId="{5DA509EC-B9EC-4D6E-A6A1-FE9DC429BB8A}">
      <dgm:prSet/>
      <dgm:spPr/>
      <dgm:t>
        <a:bodyPr/>
        <a:lstStyle/>
        <a:p>
          <a:endParaRPr lang="en-IN" sz="1000" b="1">
            <a:solidFill>
              <a:schemeClr val="bg1"/>
            </a:solidFill>
          </a:endParaRPr>
        </a:p>
      </dgm:t>
    </dgm:pt>
    <dgm:pt modelId="{E3643158-B616-4CA4-ABC4-F43D22C6FD1C}" type="sibTrans" cxnId="{5DA509EC-B9EC-4D6E-A6A1-FE9DC429BB8A}">
      <dgm:prSet custT="1"/>
      <dgm:spPr/>
      <dgm:t>
        <a:bodyPr/>
        <a:lstStyle/>
        <a:p>
          <a:endParaRPr lang="en-IN" sz="1000" b="1">
            <a:solidFill>
              <a:schemeClr val="bg1"/>
            </a:solidFill>
          </a:endParaRPr>
        </a:p>
      </dgm:t>
    </dgm:pt>
    <dgm:pt modelId="{6CC91CB6-CAA0-40A3-89CD-89CB5B720152}">
      <dgm:prSet phldrT="[Text]" custT="1"/>
      <dgm:spPr/>
      <dgm:t>
        <a:bodyPr/>
        <a:lstStyle/>
        <a:p>
          <a:r>
            <a:rPr lang="en-IN" sz="1000" b="1" dirty="0">
              <a:solidFill>
                <a:schemeClr val="bg1"/>
              </a:solidFill>
            </a:rPr>
            <a:t>Data Preparation</a:t>
          </a:r>
        </a:p>
      </dgm:t>
    </dgm:pt>
    <dgm:pt modelId="{75CB1ACE-8B55-4410-9D4D-4A01C54055EE}" type="parTrans" cxnId="{358D46F7-9699-4006-9B2F-093E204948B5}">
      <dgm:prSet/>
      <dgm:spPr/>
      <dgm:t>
        <a:bodyPr/>
        <a:lstStyle/>
        <a:p>
          <a:endParaRPr lang="en-IN" sz="1000" b="1">
            <a:solidFill>
              <a:schemeClr val="bg1"/>
            </a:solidFill>
          </a:endParaRPr>
        </a:p>
      </dgm:t>
    </dgm:pt>
    <dgm:pt modelId="{28397861-4507-4E41-9EE5-60B543386882}" type="sibTrans" cxnId="{358D46F7-9699-4006-9B2F-093E204948B5}">
      <dgm:prSet custT="1"/>
      <dgm:spPr/>
      <dgm:t>
        <a:bodyPr/>
        <a:lstStyle/>
        <a:p>
          <a:endParaRPr lang="en-IN" sz="1000" b="1">
            <a:solidFill>
              <a:schemeClr val="bg1"/>
            </a:solidFill>
          </a:endParaRPr>
        </a:p>
      </dgm:t>
    </dgm:pt>
    <dgm:pt modelId="{21CC7E88-F8BE-4E9C-86E4-2E34AC39337F}">
      <dgm:prSet phldrT="[Text]" custT="1"/>
      <dgm:spPr/>
      <dgm:t>
        <a:bodyPr/>
        <a:lstStyle/>
        <a:p>
          <a:r>
            <a:rPr lang="en-IN" sz="1000" b="1" dirty="0">
              <a:solidFill>
                <a:schemeClr val="bg1"/>
              </a:solidFill>
            </a:rPr>
            <a:t>Hypothesis Testing</a:t>
          </a:r>
        </a:p>
      </dgm:t>
    </dgm:pt>
    <dgm:pt modelId="{7EA7871F-3E8A-4BF1-870B-E7DEA6D25B84}" type="parTrans" cxnId="{24989E81-57F4-4CA4-A15E-B6D785A28BF5}">
      <dgm:prSet/>
      <dgm:spPr/>
      <dgm:t>
        <a:bodyPr/>
        <a:lstStyle/>
        <a:p>
          <a:endParaRPr lang="en-IN" sz="1000" b="1">
            <a:solidFill>
              <a:schemeClr val="bg1"/>
            </a:solidFill>
          </a:endParaRPr>
        </a:p>
      </dgm:t>
    </dgm:pt>
    <dgm:pt modelId="{603C3AA5-22AF-44A9-AAE1-46545AA757F6}" type="sibTrans" cxnId="{24989E81-57F4-4CA4-A15E-B6D785A28BF5}">
      <dgm:prSet custT="1"/>
      <dgm:spPr/>
      <dgm:t>
        <a:bodyPr/>
        <a:lstStyle/>
        <a:p>
          <a:endParaRPr lang="en-IN" sz="1000" b="1">
            <a:solidFill>
              <a:schemeClr val="bg1"/>
            </a:solidFill>
          </a:endParaRPr>
        </a:p>
      </dgm:t>
    </dgm:pt>
    <dgm:pt modelId="{962CDA2C-BF08-448A-BC72-2A917849C169}">
      <dgm:prSet phldrT="[Text]" custT="1"/>
      <dgm:spPr/>
      <dgm:t>
        <a:bodyPr/>
        <a:lstStyle/>
        <a:p>
          <a:r>
            <a:rPr lang="en-IN" sz="1000" b="1" dirty="0">
              <a:solidFill>
                <a:schemeClr val="bg1"/>
              </a:solidFill>
            </a:rPr>
            <a:t>Insights &amp; Validation</a:t>
          </a:r>
        </a:p>
      </dgm:t>
    </dgm:pt>
    <dgm:pt modelId="{D194F43F-A270-48E8-8BF6-061DD602AB7B}" type="parTrans" cxnId="{5CFC1A82-1497-4147-A40C-897C80832844}">
      <dgm:prSet/>
      <dgm:spPr/>
      <dgm:t>
        <a:bodyPr/>
        <a:lstStyle/>
        <a:p>
          <a:endParaRPr lang="en-IN" sz="1000" b="1">
            <a:solidFill>
              <a:schemeClr val="bg1"/>
            </a:solidFill>
          </a:endParaRPr>
        </a:p>
      </dgm:t>
    </dgm:pt>
    <dgm:pt modelId="{E6C56711-9498-4AB0-B7D3-BCC5920DAC30}" type="sibTrans" cxnId="{5CFC1A82-1497-4147-A40C-897C80832844}">
      <dgm:prSet custT="1"/>
      <dgm:spPr/>
      <dgm:t>
        <a:bodyPr/>
        <a:lstStyle/>
        <a:p>
          <a:endParaRPr lang="en-IN" sz="1000" b="1">
            <a:solidFill>
              <a:schemeClr val="bg1"/>
            </a:solidFill>
          </a:endParaRPr>
        </a:p>
      </dgm:t>
    </dgm:pt>
    <dgm:pt modelId="{99BE50CD-3626-48D2-99AA-729DFCADE2B4}">
      <dgm:prSet phldrT="[Text]" custT="1"/>
      <dgm:spPr/>
      <dgm:t>
        <a:bodyPr/>
        <a:lstStyle/>
        <a:p>
          <a:r>
            <a:rPr lang="en-IN" sz="1000" b="1" dirty="0">
              <a:solidFill>
                <a:schemeClr val="bg1"/>
              </a:solidFill>
            </a:rPr>
            <a:t>Actionable Recommendations</a:t>
          </a:r>
        </a:p>
      </dgm:t>
    </dgm:pt>
    <dgm:pt modelId="{5EEF70D1-A8C5-4957-8AF9-51E449FD957A}" type="parTrans" cxnId="{E32373A1-349B-4866-8BA4-B8C6A18308FC}">
      <dgm:prSet/>
      <dgm:spPr/>
      <dgm:t>
        <a:bodyPr/>
        <a:lstStyle/>
        <a:p>
          <a:endParaRPr lang="en-IN" sz="1000" b="1">
            <a:solidFill>
              <a:schemeClr val="bg1"/>
            </a:solidFill>
          </a:endParaRPr>
        </a:p>
      </dgm:t>
    </dgm:pt>
    <dgm:pt modelId="{568B1A5C-5650-4F37-84EC-0FED93FFD330}" type="sibTrans" cxnId="{E32373A1-349B-4866-8BA4-B8C6A18308FC}">
      <dgm:prSet/>
      <dgm:spPr/>
      <dgm:t>
        <a:bodyPr/>
        <a:lstStyle/>
        <a:p>
          <a:endParaRPr lang="en-IN" sz="1000" b="1">
            <a:solidFill>
              <a:schemeClr val="bg1"/>
            </a:solidFill>
          </a:endParaRPr>
        </a:p>
      </dgm:t>
    </dgm:pt>
    <dgm:pt modelId="{0DD2B86E-5C9E-43B4-91F0-6BC4252D4B01}" type="pres">
      <dgm:prSet presAssocID="{84E84D22-1840-444C-BBFC-2EF1D57FD1AD}" presName="Name0" presStyleCnt="0">
        <dgm:presLayoutVars>
          <dgm:dir/>
          <dgm:resizeHandles val="exact"/>
        </dgm:presLayoutVars>
      </dgm:prSet>
      <dgm:spPr/>
    </dgm:pt>
    <dgm:pt modelId="{17DEBBC3-B957-4052-AD79-7270AE277C2E}" type="pres">
      <dgm:prSet presAssocID="{1BF53397-4378-415D-84A9-01B615F26882}" presName="node" presStyleLbl="node1" presStyleIdx="0" presStyleCnt="5">
        <dgm:presLayoutVars>
          <dgm:bulletEnabled val="1"/>
        </dgm:presLayoutVars>
      </dgm:prSet>
      <dgm:spPr/>
    </dgm:pt>
    <dgm:pt modelId="{C8D925C6-D82B-4875-A0D2-064AF9DFB969}" type="pres">
      <dgm:prSet presAssocID="{E3643158-B616-4CA4-ABC4-F43D22C6FD1C}" presName="sibTrans" presStyleLbl="sibTrans2D1" presStyleIdx="0" presStyleCnt="4"/>
      <dgm:spPr/>
    </dgm:pt>
    <dgm:pt modelId="{2EA2970A-955E-4AED-9D6D-68DF1D1D1206}" type="pres">
      <dgm:prSet presAssocID="{E3643158-B616-4CA4-ABC4-F43D22C6FD1C}" presName="connectorText" presStyleLbl="sibTrans2D1" presStyleIdx="0" presStyleCnt="4"/>
      <dgm:spPr/>
    </dgm:pt>
    <dgm:pt modelId="{887941A7-F007-4CDC-9F6F-D3AA363F10FD}" type="pres">
      <dgm:prSet presAssocID="{6CC91CB6-CAA0-40A3-89CD-89CB5B720152}" presName="node" presStyleLbl="node1" presStyleIdx="1" presStyleCnt="5">
        <dgm:presLayoutVars>
          <dgm:bulletEnabled val="1"/>
        </dgm:presLayoutVars>
      </dgm:prSet>
      <dgm:spPr/>
    </dgm:pt>
    <dgm:pt modelId="{956FB709-7120-459D-BEB5-CE9B180B519A}" type="pres">
      <dgm:prSet presAssocID="{28397861-4507-4E41-9EE5-60B543386882}" presName="sibTrans" presStyleLbl="sibTrans2D1" presStyleIdx="1" presStyleCnt="4"/>
      <dgm:spPr/>
    </dgm:pt>
    <dgm:pt modelId="{D8A6B782-EA30-4E7E-96C8-2DE3A585A22D}" type="pres">
      <dgm:prSet presAssocID="{28397861-4507-4E41-9EE5-60B543386882}" presName="connectorText" presStyleLbl="sibTrans2D1" presStyleIdx="1" presStyleCnt="4"/>
      <dgm:spPr/>
    </dgm:pt>
    <dgm:pt modelId="{021D455E-5DE2-4034-949C-CA1E9DFDE051}" type="pres">
      <dgm:prSet presAssocID="{21CC7E88-F8BE-4E9C-86E4-2E34AC39337F}" presName="node" presStyleLbl="node1" presStyleIdx="2" presStyleCnt="5">
        <dgm:presLayoutVars>
          <dgm:bulletEnabled val="1"/>
        </dgm:presLayoutVars>
      </dgm:prSet>
      <dgm:spPr/>
    </dgm:pt>
    <dgm:pt modelId="{46C61C06-5039-41A5-96AA-5953A75829D7}" type="pres">
      <dgm:prSet presAssocID="{603C3AA5-22AF-44A9-AAE1-46545AA757F6}" presName="sibTrans" presStyleLbl="sibTrans2D1" presStyleIdx="2" presStyleCnt="4"/>
      <dgm:spPr/>
    </dgm:pt>
    <dgm:pt modelId="{C024D596-8C83-4B87-9178-9F41A4D29DD0}" type="pres">
      <dgm:prSet presAssocID="{603C3AA5-22AF-44A9-AAE1-46545AA757F6}" presName="connectorText" presStyleLbl="sibTrans2D1" presStyleIdx="2" presStyleCnt="4"/>
      <dgm:spPr/>
    </dgm:pt>
    <dgm:pt modelId="{AE5002F2-9524-4D51-8747-ECFF60818F39}" type="pres">
      <dgm:prSet presAssocID="{962CDA2C-BF08-448A-BC72-2A917849C169}" presName="node" presStyleLbl="node1" presStyleIdx="3" presStyleCnt="5">
        <dgm:presLayoutVars>
          <dgm:bulletEnabled val="1"/>
        </dgm:presLayoutVars>
      </dgm:prSet>
      <dgm:spPr/>
    </dgm:pt>
    <dgm:pt modelId="{1A83183E-BFF2-4075-84A8-0B4CFA8879ED}" type="pres">
      <dgm:prSet presAssocID="{E6C56711-9498-4AB0-B7D3-BCC5920DAC30}" presName="sibTrans" presStyleLbl="sibTrans2D1" presStyleIdx="3" presStyleCnt="4"/>
      <dgm:spPr/>
    </dgm:pt>
    <dgm:pt modelId="{9AC15267-54F9-4BCB-BE1D-077A8EE5668A}" type="pres">
      <dgm:prSet presAssocID="{E6C56711-9498-4AB0-B7D3-BCC5920DAC30}" presName="connectorText" presStyleLbl="sibTrans2D1" presStyleIdx="3" presStyleCnt="4"/>
      <dgm:spPr/>
    </dgm:pt>
    <dgm:pt modelId="{3E159356-5D6A-4CF5-8B4C-80A3B4ED70CC}" type="pres">
      <dgm:prSet presAssocID="{99BE50CD-3626-48D2-99AA-729DFCADE2B4}" presName="node" presStyleLbl="node1" presStyleIdx="4" presStyleCnt="5">
        <dgm:presLayoutVars>
          <dgm:bulletEnabled val="1"/>
        </dgm:presLayoutVars>
      </dgm:prSet>
      <dgm:spPr/>
    </dgm:pt>
  </dgm:ptLst>
  <dgm:cxnLst>
    <dgm:cxn modelId="{AB1BC105-B65A-4DD7-9145-104C764A69E7}" type="presOf" srcId="{28397861-4507-4E41-9EE5-60B543386882}" destId="{956FB709-7120-459D-BEB5-CE9B180B519A}" srcOrd="0" destOrd="0" presId="urn:microsoft.com/office/officeart/2005/8/layout/process1"/>
    <dgm:cxn modelId="{8C091125-DFAE-480B-BA0C-B21B82C93CFA}" type="presOf" srcId="{6CC91CB6-CAA0-40A3-89CD-89CB5B720152}" destId="{887941A7-F007-4CDC-9F6F-D3AA363F10FD}" srcOrd="0" destOrd="0" presId="urn:microsoft.com/office/officeart/2005/8/layout/process1"/>
    <dgm:cxn modelId="{9C78DD26-3795-4EBA-949D-5F804302941A}" type="presOf" srcId="{E3643158-B616-4CA4-ABC4-F43D22C6FD1C}" destId="{C8D925C6-D82B-4875-A0D2-064AF9DFB969}" srcOrd="0" destOrd="0" presId="urn:microsoft.com/office/officeart/2005/8/layout/process1"/>
    <dgm:cxn modelId="{B93D6461-4773-4F27-84A8-430DEA913597}" type="presOf" srcId="{E3643158-B616-4CA4-ABC4-F43D22C6FD1C}" destId="{2EA2970A-955E-4AED-9D6D-68DF1D1D1206}" srcOrd="1" destOrd="0" presId="urn:microsoft.com/office/officeart/2005/8/layout/process1"/>
    <dgm:cxn modelId="{05E0A342-DE7C-469B-A272-3F2AEB02EE82}" type="presOf" srcId="{21CC7E88-F8BE-4E9C-86E4-2E34AC39337F}" destId="{021D455E-5DE2-4034-949C-CA1E9DFDE051}" srcOrd="0" destOrd="0" presId="urn:microsoft.com/office/officeart/2005/8/layout/process1"/>
    <dgm:cxn modelId="{1390154A-2A1D-4130-9A02-EBC8D1244409}" type="presOf" srcId="{962CDA2C-BF08-448A-BC72-2A917849C169}" destId="{AE5002F2-9524-4D51-8747-ECFF60818F39}" srcOrd="0" destOrd="0" presId="urn:microsoft.com/office/officeart/2005/8/layout/process1"/>
    <dgm:cxn modelId="{4A3D8C6B-E1FB-4AA3-981B-0533404D319B}" type="presOf" srcId="{1BF53397-4378-415D-84A9-01B615F26882}" destId="{17DEBBC3-B957-4052-AD79-7270AE277C2E}" srcOrd="0" destOrd="0" presId="urn:microsoft.com/office/officeart/2005/8/layout/process1"/>
    <dgm:cxn modelId="{24989E81-57F4-4CA4-A15E-B6D785A28BF5}" srcId="{84E84D22-1840-444C-BBFC-2EF1D57FD1AD}" destId="{21CC7E88-F8BE-4E9C-86E4-2E34AC39337F}" srcOrd="2" destOrd="0" parTransId="{7EA7871F-3E8A-4BF1-870B-E7DEA6D25B84}" sibTransId="{603C3AA5-22AF-44A9-AAE1-46545AA757F6}"/>
    <dgm:cxn modelId="{5CFC1A82-1497-4147-A40C-897C80832844}" srcId="{84E84D22-1840-444C-BBFC-2EF1D57FD1AD}" destId="{962CDA2C-BF08-448A-BC72-2A917849C169}" srcOrd="3" destOrd="0" parTransId="{D194F43F-A270-48E8-8BF6-061DD602AB7B}" sibTransId="{E6C56711-9498-4AB0-B7D3-BCC5920DAC30}"/>
    <dgm:cxn modelId="{39E84883-EE66-4334-AD5E-2C68A6EBA21B}" type="presOf" srcId="{99BE50CD-3626-48D2-99AA-729DFCADE2B4}" destId="{3E159356-5D6A-4CF5-8B4C-80A3B4ED70CC}" srcOrd="0" destOrd="0" presId="urn:microsoft.com/office/officeart/2005/8/layout/process1"/>
    <dgm:cxn modelId="{D0507C95-6FE7-4E89-9310-E5CDC516673E}" type="presOf" srcId="{E6C56711-9498-4AB0-B7D3-BCC5920DAC30}" destId="{1A83183E-BFF2-4075-84A8-0B4CFA8879ED}" srcOrd="0" destOrd="0" presId="urn:microsoft.com/office/officeart/2005/8/layout/process1"/>
    <dgm:cxn modelId="{D8A9A698-52B7-4B75-806B-BCBCB4B5A4B1}" type="presOf" srcId="{603C3AA5-22AF-44A9-AAE1-46545AA757F6}" destId="{46C61C06-5039-41A5-96AA-5953A75829D7}" srcOrd="0" destOrd="0" presId="urn:microsoft.com/office/officeart/2005/8/layout/process1"/>
    <dgm:cxn modelId="{D5DB869C-D57D-4674-824B-12213BC3F735}" type="presOf" srcId="{E6C56711-9498-4AB0-B7D3-BCC5920DAC30}" destId="{9AC15267-54F9-4BCB-BE1D-077A8EE5668A}" srcOrd="1" destOrd="0" presId="urn:microsoft.com/office/officeart/2005/8/layout/process1"/>
    <dgm:cxn modelId="{E32373A1-349B-4866-8BA4-B8C6A18308FC}" srcId="{84E84D22-1840-444C-BBFC-2EF1D57FD1AD}" destId="{99BE50CD-3626-48D2-99AA-729DFCADE2B4}" srcOrd="4" destOrd="0" parTransId="{5EEF70D1-A8C5-4957-8AF9-51E449FD957A}" sibTransId="{568B1A5C-5650-4F37-84EC-0FED93FFD330}"/>
    <dgm:cxn modelId="{5BBFDCAC-5F85-468A-BAFC-776A76C95F03}" type="presOf" srcId="{28397861-4507-4E41-9EE5-60B543386882}" destId="{D8A6B782-EA30-4E7E-96C8-2DE3A585A22D}" srcOrd="1" destOrd="0" presId="urn:microsoft.com/office/officeart/2005/8/layout/process1"/>
    <dgm:cxn modelId="{4984E5DD-9959-45EB-BC8B-E58A8078ACDB}" type="presOf" srcId="{603C3AA5-22AF-44A9-AAE1-46545AA757F6}" destId="{C024D596-8C83-4B87-9178-9F41A4D29DD0}" srcOrd="1" destOrd="0" presId="urn:microsoft.com/office/officeart/2005/8/layout/process1"/>
    <dgm:cxn modelId="{C7D4CDE2-4B35-450F-92DE-592909838B4E}" type="presOf" srcId="{84E84D22-1840-444C-BBFC-2EF1D57FD1AD}" destId="{0DD2B86E-5C9E-43B4-91F0-6BC4252D4B01}" srcOrd="0" destOrd="0" presId="urn:microsoft.com/office/officeart/2005/8/layout/process1"/>
    <dgm:cxn modelId="{5DA509EC-B9EC-4D6E-A6A1-FE9DC429BB8A}" srcId="{84E84D22-1840-444C-BBFC-2EF1D57FD1AD}" destId="{1BF53397-4378-415D-84A9-01B615F26882}" srcOrd="0" destOrd="0" parTransId="{C44261D9-13AF-4D57-A570-178E828EFC0D}" sibTransId="{E3643158-B616-4CA4-ABC4-F43D22C6FD1C}"/>
    <dgm:cxn modelId="{358D46F7-9699-4006-9B2F-093E204948B5}" srcId="{84E84D22-1840-444C-BBFC-2EF1D57FD1AD}" destId="{6CC91CB6-CAA0-40A3-89CD-89CB5B720152}" srcOrd="1" destOrd="0" parTransId="{75CB1ACE-8B55-4410-9D4D-4A01C54055EE}" sibTransId="{28397861-4507-4E41-9EE5-60B543386882}"/>
    <dgm:cxn modelId="{DBF9887B-C684-4449-84CC-A8D55ED68BAE}" type="presParOf" srcId="{0DD2B86E-5C9E-43B4-91F0-6BC4252D4B01}" destId="{17DEBBC3-B957-4052-AD79-7270AE277C2E}" srcOrd="0" destOrd="0" presId="urn:microsoft.com/office/officeart/2005/8/layout/process1"/>
    <dgm:cxn modelId="{AC7A2A60-E406-4DD0-8672-36ACC3175362}" type="presParOf" srcId="{0DD2B86E-5C9E-43B4-91F0-6BC4252D4B01}" destId="{C8D925C6-D82B-4875-A0D2-064AF9DFB969}" srcOrd="1" destOrd="0" presId="urn:microsoft.com/office/officeart/2005/8/layout/process1"/>
    <dgm:cxn modelId="{7F67A5FC-6585-4AB4-9357-9B486094096D}" type="presParOf" srcId="{C8D925C6-D82B-4875-A0D2-064AF9DFB969}" destId="{2EA2970A-955E-4AED-9D6D-68DF1D1D1206}" srcOrd="0" destOrd="0" presId="urn:microsoft.com/office/officeart/2005/8/layout/process1"/>
    <dgm:cxn modelId="{B32FDEF1-F5E9-42B1-8CCF-328D894F4E49}" type="presParOf" srcId="{0DD2B86E-5C9E-43B4-91F0-6BC4252D4B01}" destId="{887941A7-F007-4CDC-9F6F-D3AA363F10FD}" srcOrd="2" destOrd="0" presId="urn:microsoft.com/office/officeart/2005/8/layout/process1"/>
    <dgm:cxn modelId="{DD0071F1-2E0D-4DFC-ABFA-73FC9277F82C}" type="presParOf" srcId="{0DD2B86E-5C9E-43B4-91F0-6BC4252D4B01}" destId="{956FB709-7120-459D-BEB5-CE9B180B519A}" srcOrd="3" destOrd="0" presId="urn:microsoft.com/office/officeart/2005/8/layout/process1"/>
    <dgm:cxn modelId="{D4F0D2CD-9E6D-4FA2-A65F-77E1923BFEDC}" type="presParOf" srcId="{956FB709-7120-459D-BEB5-CE9B180B519A}" destId="{D8A6B782-EA30-4E7E-96C8-2DE3A585A22D}" srcOrd="0" destOrd="0" presId="urn:microsoft.com/office/officeart/2005/8/layout/process1"/>
    <dgm:cxn modelId="{3BBB4CD1-07A6-4500-9190-C36DDB9D00E9}" type="presParOf" srcId="{0DD2B86E-5C9E-43B4-91F0-6BC4252D4B01}" destId="{021D455E-5DE2-4034-949C-CA1E9DFDE051}" srcOrd="4" destOrd="0" presId="urn:microsoft.com/office/officeart/2005/8/layout/process1"/>
    <dgm:cxn modelId="{C0D00DC8-5E0F-45B6-9F59-84067E480108}" type="presParOf" srcId="{0DD2B86E-5C9E-43B4-91F0-6BC4252D4B01}" destId="{46C61C06-5039-41A5-96AA-5953A75829D7}" srcOrd="5" destOrd="0" presId="urn:microsoft.com/office/officeart/2005/8/layout/process1"/>
    <dgm:cxn modelId="{A9AB960D-5FF1-4BF6-B106-F20567B85311}" type="presParOf" srcId="{46C61C06-5039-41A5-96AA-5953A75829D7}" destId="{C024D596-8C83-4B87-9178-9F41A4D29DD0}" srcOrd="0" destOrd="0" presId="urn:microsoft.com/office/officeart/2005/8/layout/process1"/>
    <dgm:cxn modelId="{6FA8D00A-A8BE-478B-AD4F-FB4C25B3E6F9}" type="presParOf" srcId="{0DD2B86E-5C9E-43B4-91F0-6BC4252D4B01}" destId="{AE5002F2-9524-4D51-8747-ECFF60818F39}" srcOrd="6" destOrd="0" presId="urn:microsoft.com/office/officeart/2005/8/layout/process1"/>
    <dgm:cxn modelId="{9EA691AA-0390-45F9-9719-BD8EFB0A73A1}" type="presParOf" srcId="{0DD2B86E-5C9E-43B4-91F0-6BC4252D4B01}" destId="{1A83183E-BFF2-4075-84A8-0B4CFA8879ED}" srcOrd="7" destOrd="0" presId="urn:microsoft.com/office/officeart/2005/8/layout/process1"/>
    <dgm:cxn modelId="{59171058-38DB-473B-8CF3-086C13736567}" type="presParOf" srcId="{1A83183E-BFF2-4075-84A8-0B4CFA8879ED}" destId="{9AC15267-54F9-4BCB-BE1D-077A8EE5668A}" srcOrd="0" destOrd="0" presId="urn:microsoft.com/office/officeart/2005/8/layout/process1"/>
    <dgm:cxn modelId="{30C39793-B765-4598-93E8-45BC0AFADB25}" type="presParOf" srcId="{0DD2B86E-5C9E-43B4-91F0-6BC4252D4B01}" destId="{3E159356-5D6A-4CF5-8B4C-80A3B4ED70CC}" srcOrd="8"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FA3FE11-8A51-4A1D-91AA-64D72E5F372B}" type="doc">
      <dgm:prSet loTypeId="urn:microsoft.com/office/officeart/2005/8/layout/pyramid1" loCatId="pyramid" qsTypeId="urn:microsoft.com/office/officeart/2005/8/quickstyle/simple1" qsCatId="simple" csTypeId="urn:microsoft.com/office/officeart/2005/8/colors/colorful2" csCatId="colorful" phldr="1"/>
      <dgm:spPr/>
    </dgm:pt>
    <dgm:pt modelId="{374D40B0-CAB8-4455-B564-795CE64B4616}">
      <dgm:prSet phldrT="[Text]" custT="1"/>
      <dgm:spPr/>
      <dgm:t>
        <a:bodyPr/>
        <a:lstStyle/>
        <a:p>
          <a:r>
            <a:rPr lang="en-IN" sz="1200">
              <a:solidFill>
                <a:schemeClr val="bg1"/>
              </a:solidFill>
            </a:rPr>
            <a:t>High</a:t>
          </a:r>
          <a:endParaRPr lang="en-IN" sz="1200" dirty="0">
            <a:solidFill>
              <a:schemeClr val="bg1"/>
            </a:solidFill>
          </a:endParaRPr>
        </a:p>
        <a:p>
          <a:r>
            <a:rPr lang="en-IN" sz="1200" dirty="0">
              <a:solidFill>
                <a:schemeClr val="bg1"/>
              </a:solidFill>
            </a:rPr>
            <a:t>Priority</a:t>
          </a:r>
        </a:p>
      </dgm:t>
    </dgm:pt>
    <dgm:pt modelId="{85EB45E1-DF7F-43D0-BA50-65AFE6F6EDE8}" type="parTrans" cxnId="{8F4ACA6B-B3EA-44B8-B369-542E924DCE28}">
      <dgm:prSet/>
      <dgm:spPr/>
      <dgm:t>
        <a:bodyPr/>
        <a:lstStyle/>
        <a:p>
          <a:endParaRPr lang="en-IN" sz="1200"/>
        </a:p>
      </dgm:t>
    </dgm:pt>
    <dgm:pt modelId="{30EEDEF7-AE64-4B3A-9D6B-72139FCF8DB8}" type="sibTrans" cxnId="{8F4ACA6B-B3EA-44B8-B369-542E924DCE28}">
      <dgm:prSet/>
      <dgm:spPr/>
      <dgm:t>
        <a:bodyPr/>
        <a:lstStyle/>
        <a:p>
          <a:endParaRPr lang="en-IN" sz="1200"/>
        </a:p>
      </dgm:t>
    </dgm:pt>
    <dgm:pt modelId="{06BCE02A-A85F-410F-8375-CFF4D8C0C298}">
      <dgm:prSet phldrT="[Text]" custT="1"/>
      <dgm:spPr/>
      <dgm:t>
        <a:bodyPr/>
        <a:lstStyle/>
        <a:p>
          <a:r>
            <a:rPr lang="en-IN" sz="1200" dirty="0">
              <a:solidFill>
                <a:schemeClr val="bg1"/>
              </a:solidFill>
            </a:rPr>
            <a:t>Low</a:t>
          </a:r>
        </a:p>
        <a:p>
          <a:r>
            <a:rPr lang="en-IN" sz="1200" dirty="0">
              <a:solidFill>
                <a:schemeClr val="bg1"/>
              </a:solidFill>
            </a:rPr>
            <a:t>Priority</a:t>
          </a:r>
        </a:p>
      </dgm:t>
    </dgm:pt>
    <dgm:pt modelId="{40CCE1BC-EE7B-4845-83D6-21BC529C7F9B}" type="parTrans" cxnId="{39C22247-0645-4CBD-8D5C-07C6F5E9561F}">
      <dgm:prSet/>
      <dgm:spPr/>
      <dgm:t>
        <a:bodyPr/>
        <a:lstStyle/>
        <a:p>
          <a:endParaRPr lang="en-IN" sz="1200"/>
        </a:p>
      </dgm:t>
    </dgm:pt>
    <dgm:pt modelId="{51D694C2-FB26-43DA-A655-291EF6A5ED5F}" type="sibTrans" cxnId="{39C22247-0645-4CBD-8D5C-07C6F5E9561F}">
      <dgm:prSet/>
      <dgm:spPr/>
      <dgm:t>
        <a:bodyPr/>
        <a:lstStyle/>
        <a:p>
          <a:endParaRPr lang="en-IN" sz="1200"/>
        </a:p>
      </dgm:t>
    </dgm:pt>
    <dgm:pt modelId="{584DBC80-158B-45EF-9B9B-44392E29DB4B}">
      <dgm:prSet phldrT="[Text]" custT="1"/>
      <dgm:spPr>
        <a:solidFill>
          <a:schemeClr val="bg1">
            <a:lumMod val="85000"/>
            <a:alpha val="90000"/>
          </a:schemeClr>
        </a:solidFill>
      </dgm:spPr>
      <dgm:t>
        <a:bodyPr/>
        <a:lstStyle/>
        <a:p>
          <a:r>
            <a:rPr lang="en-IN" sz="1200" dirty="0"/>
            <a:t>Unit Cost</a:t>
          </a:r>
        </a:p>
      </dgm:t>
    </dgm:pt>
    <dgm:pt modelId="{117E229B-FDF2-45EF-8173-5D301EEBE82B}" type="parTrans" cxnId="{279F683D-2DF9-4208-B56F-CFEFD58EB41C}">
      <dgm:prSet/>
      <dgm:spPr/>
      <dgm:t>
        <a:bodyPr/>
        <a:lstStyle/>
        <a:p>
          <a:endParaRPr lang="en-IN" sz="1200"/>
        </a:p>
      </dgm:t>
    </dgm:pt>
    <dgm:pt modelId="{3B7A6F88-A3E3-48D0-A764-77814C769493}" type="sibTrans" cxnId="{279F683D-2DF9-4208-B56F-CFEFD58EB41C}">
      <dgm:prSet/>
      <dgm:spPr/>
      <dgm:t>
        <a:bodyPr/>
        <a:lstStyle/>
        <a:p>
          <a:endParaRPr lang="en-IN" sz="1200"/>
        </a:p>
      </dgm:t>
    </dgm:pt>
    <dgm:pt modelId="{F793ED76-44B6-4A54-ACF5-5CF331E542BA}">
      <dgm:prSet phldrT="[Text]" custT="1"/>
      <dgm:spPr>
        <a:solidFill>
          <a:schemeClr val="bg1">
            <a:lumMod val="85000"/>
            <a:alpha val="90000"/>
          </a:schemeClr>
        </a:solidFill>
      </dgm:spPr>
      <dgm:t>
        <a:bodyPr/>
        <a:lstStyle/>
        <a:p>
          <a:r>
            <a:rPr lang="en-IN" sz="1200" dirty="0"/>
            <a:t>Lead Time</a:t>
          </a:r>
        </a:p>
      </dgm:t>
    </dgm:pt>
    <dgm:pt modelId="{E1FC50C6-85F3-49E1-9446-C6677D95E1A0}" type="parTrans" cxnId="{EB65ED48-8F65-4291-A645-3D84FA1629EE}">
      <dgm:prSet/>
      <dgm:spPr/>
      <dgm:t>
        <a:bodyPr/>
        <a:lstStyle/>
        <a:p>
          <a:endParaRPr lang="en-IN" sz="1200"/>
        </a:p>
      </dgm:t>
    </dgm:pt>
    <dgm:pt modelId="{841779FA-66E7-486D-9A52-6A8C96B0440C}" type="sibTrans" cxnId="{EB65ED48-8F65-4291-A645-3D84FA1629EE}">
      <dgm:prSet/>
      <dgm:spPr/>
      <dgm:t>
        <a:bodyPr/>
        <a:lstStyle/>
        <a:p>
          <a:endParaRPr lang="en-IN" sz="1200"/>
        </a:p>
      </dgm:t>
    </dgm:pt>
    <dgm:pt modelId="{AABE8F76-EFC3-47FB-A8CE-C7EDB58E2847}">
      <dgm:prSet phldrT="[Text]" custT="1"/>
      <dgm:spPr>
        <a:solidFill>
          <a:schemeClr val="bg1">
            <a:lumMod val="85000"/>
            <a:alpha val="90000"/>
          </a:schemeClr>
        </a:solidFill>
      </dgm:spPr>
      <dgm:t>
        <a:bodyPr/>
        <a:lstStyle/>
        <a:p>
          <a:r>
            <a:rPr lang="en-IN" sz="1200" dirty="0"/>
            <a:t>Shelf Life</a:t>
          </a:r>
        </a:p>
      </dgm:t>
    </dgm:pt>
    <dgm:pt modelId="{2BEE1435-7859-48AC-ABD7-CC524D653A7B}" type="parTrans" cxnId="{9D5D3CF8-D304-46DC-8F16-7BCF25FA2189}">
      <dgm:prSet/>
      <dgm:spPr/>
      <dgm:t>
        <a:bodyPr/>
        <a:lstStyle/>
        <a:p>
          <a:endParaRPr lang="en-IN" sz="1200"/>
        </a:p>
      </dgm:t>
    </dgm:pt>
    <dgm:pt modelId="{08201668-9495-46CC-A521-FBF4C6284451}" type="sibTrans" cxnId="{9D5D3CF8-D304-46DC-8F16-7BCF25FA2189}">
      <dgm:prSet/>
      <dgm:spPr/>
      <dgm:t>
        <a:bodyPr/>
        <a:lstStyle/>
        <a:p>
          <a:endParaRPr lang="en-IN" sz="1200"/>
        </a:p>
      </dgm:t>
    </dgm:pt>
    <dgm:pt modelId="{E76FFD1E-9678-4E61-ADED-32FE0B5D0EB3}">
      <dgm:prSet phldrT="[Text]" custT="1"/>
      <dgm:spPr>
        <a:solidFill>
          <a:schemeClr val="bg1">
            <a:lumMod val="85000"/>
            <a:alpha val="90000"/>
          </a:schemeClr>
        </a:solidFill>
      </dgm:spPr>
      <dgm:t>
        <a:bodyPr/>
        <a:lstStyle/>
        <a:p>
          <a:r>
            <a:rPr lang="en-IN" sz="1200" dirty="0"/>
            <a:t>Subdivision</a:t>
          </a:r>
        </a:p>
      </dgm:t>
    </dgm:pt>
    <dgm:pt modelId="{2EB78FB5-DEC3-491A-81F5-EF5723B267FF}" type="parTrans" cxnId="{732FDA5F-E163-460B-A348-1031AAA583A0}">
      <dgm:prSet/>
      <dgm:spPr/>
      <dgm:t>
        <a:bodyPr/>
        <a:lstStyle/>
        <a:p>
          <a:endParaRPr lang="en-IN" sz="1200"/>
        </a:p>
      </dgm:t>
    </dgm:pt>
    <dgm:pt modelId="{AF0B5608-57BA-4B7C-AAD5-6FD369C46B2A}" type="sibTrans" cxnId="{732FDA5F-E163-460B-A348-1031AAA583A0}">
      <dgm:prSet/>
      <dgm:spPr/>
      <dgm:t>
        <a:bodyPr/>
        <a:lstStyle/>
        <a:p>
          <a:endParaRPr lang="en-IN" sz="1200"/>
        </a:p>
      </dgm:t>
    </dgm:pt>
    <dgm:pt modelId="{E1DA1BBB-1A8D-410B-B223-60EC627A5BF4}">
      <dgm:prSet phldrT="[Text]" custT="1"/>
      <dgm:spPr>
        <a:solidFill>
          <a:schemeClr val="bg1">
            <a:lumMod val="85000"/>
            <a:alpha val="90000"/>
          </a:schemeClr>
        </a:solidFill>
      </dgm:spPr>
      <dgm:t>
        <a:bodyPr/>
        <a:lstStyle/>
        <a:p>
          <a:r>
            <a:rPr lang="en-IN" sz="1200" dirty="0"/>
            <a:t>Lifecycle Phase</a:t>
          </a:r>
        </a:p>
      </dgm:t>
    </dgm:pt>
    <dgm:pt modelId="{544159F3-5FAF-4376-8F35-A253DCDECFBE}" type="parTrans" cxnId="{4C58A67B-50A7-40BC-BB22-F5D148A3B36C}">
      <dgm:prSet/>
      <dgm:spPr/>
      <dgm:t>
        <a:bodyPr/>
        <a:lstStyle/>
        <a:p>
          <a:endParaRPr lang="en-IN" sz="1200"/>
        </a:p>
      </dgm:t>
    </dgm:pt>
    <dgm:pt modelId="{3CE9247C-7DA2-4886-8E54-0E7451CB48CB}" type="sibTrans" cxnId="{4C58A67B-50A7-40BC-BB22-F5D148A3B36C}">
      <dgm:prSet/>
      <dgm:spPr/>
      <dgm:t>
        <a:bodyPr/>
        <a:lstStyle/>
        <a:p>
          <a:endParaRPr lang="en-IN" sz="1200"/>
        </a:p>
      </dgm:t>
    </dgm:pt>
    <dgm:pt modelId="{BE09F35E-840F-4258-9987-B2C78DE8179C}">
      <dgm:prSet phldrT="[Text]" custT="1"/>
      <dgm:spPr/>
      <dgm:t>
        <a:bodyPr/>
        <a:lstStyle/>
        <a:p>
          <a:r>
            <a:rPr lang="en-IN" sz="1200" dirty="0">
              <a:solidFill>
                <a:schemeClr val="bg1"/>
              </a:solidFill>
            </a:rPr>
            <a:t>Moderate</a:t>
          </a:r>
        </a:p>
        <a:p>
          <a:r>
            <a:rPr lang="en-IN" sz="1200" dirty="0">
              <a:solidFill>
                <a:schemeClr val="bg1"/>
              </a:solidFill>
            </a:rPr>
            <a:t>Priority</a:t>
          </a:r>
        </a:p>
      </dgm:t>
    </dgm:pt>
    <dgm:pt modelId="{8A8287DA-EEF8-4FF1-829F-EC8CDA6147B6}" type="parTrans" cxnId="{595DA43B-3454-4BE6-B8ED-7572851E6473}">
      <dgm:prSet/>
      <dgm:spPr/>
      <dgm:t>
        <a:bodyPr/>
        <a:lstStyle/>
        <a:p>
          <a:endParaRPr lang="en-IN" sz="1200"/>
        </a:p>
      </dgm:t>
    </dgm:pt>
    <dgm:pt modelId="{6EBFDD69-84EB-4255-8786-2E7114AABD68}" type="sibTrans" cxnId="{595DA43B-3454-4BE6-B8ED-7572851E6473}">
      <dgm:prSet/>
      <dgm:spPr/>
      <dgm:t>
        <a:bodyPr/>
        <a:lstStyle/>
        <a:p>
          <a:endParaRPr lang="en-IN" sz="1200"/>
        </a:p>
      </dgm:t>
    </dgm:pt>
    <dgm:pt modelId="{FADB2475-2347-44C2-BB3F-EDD02FEBE6E4}">
      <dgm:prSet phldrT="[Text]" custT="1"/>
      <dgm:spPr>
        <a:solidFill>
          <a:schemeClr val="bg1">
            <a:lumMod val="85000"/>
            <a:alpha val="90000"/>
          </a:schemeClr>
        </a:solidFill>
      </dgm:spPr>
      <dgm:t>
        <a:bodyPr/>
        <a:lstStyle/>
        <a:p>
          <a:r>
            <a:rPr lang="en-IN" sz="1200" dirty="0"/>
            <a:t>Carrying Cost</a:t>
          </a:r>
        </a:p>
      </dgm:t>
    </dgm:pt>
    <dgm:pt modelId="{574F4105-605A-4B11-A2D9-4317C2E03064}" type="parTrans" cxnId="{250E1493-FA0E-4D0F-A9B2-839D410BD79C}">
      <dgm:prSet/>
      <dgm:spPr/>
      <dgm:t>
        <a:bodyPr/>
        <a:lstStyle/>
        <a:p>
          <a:endParaRPr lang="en-IN" sz="1200"/>
        </a:p>
      </dgm:t>
    </dgm:pt>
    <dgm:pt modelId="{7F62CC6B-182C-48D6-8C80-20EC3D87F343}" type="sibTrans" cxnId="{250E1493-FA0E-4D0F-A9B2-839D410BD79C}">
      <dgm:prSet/>
      <dgm:spPr/>
      <dgm:t>
        <a:bodyPr/>
        <a:lstStyle/>
        <a:p>
          <a:endParaRPr lang="en-IN" sz="1200"/>
        </a:p>
      </dgm:t>
    </dgm:pt>
    <dgm:pt modelId="{E554030D-B8F9-4F72-84DE-789B5ECC5BF4}">
      <dgm:prSet phldrT="[Text]" custT="1"/>
      <dgm:spPr>
        <a:solidFill>
          <a:schemeClr val="bg1">
            <a:lumMod val="85000"/>
            <a:alpha val="90000"/>
          </a:schemeClr>
        </a:solidFill>
      </dgm:spPr>
      <dgm:t>
        <a:bodyPr/>
        <a:lstStyle/>
        <a:p>
          <a:r>
            <a:rPr lang="en-IN" sz="1200" dirty="0"/>
            <a:t>Demand fluctuation</a:t>
          </a:r>
        </a:p>
      </dgm:t>
    </dgm:pt>
    <dgm:pt modelId="{50801AA5-25A1-400F-A4D7-219DD1DAAFCE}" type="parTrans" cxnId="{01093077-068B-4923-860D-EB9C5E51ED76}">
      <dgm:prSet/>
      <dgm:spPr/>
      <dgm:t>
        <a:bodyPr/>
        <a:lstStyle/>
        <a:p>
          <a:endParaRPr lang="en-IN" sz="1200"/>
        </a:p>
      </dgm:t>
    </dgm:pt>
    <dgm:pt modelId="{F898CB30-10BF-4568-9C5D-C817CFFDEE38}" type="sibTrans" cxnId="{01093077-068B-4923-860D-EB9C5E51ED76}">
      <dgm:prSet/>
      <dgm:spPr/>
      <dgm:t>
        <a:bodyPr/>
        <a:lstStyle/>
        <a:p>
          <a:endParaRPr lang="en-IN" sz="1200"/>
        </a:p>
      </dgm:t>
    </dgm:pt>
    <dgm:pt modelId="{14DA9D15-1DFE-44C3-A44C-8CBE0E86A667}">
      <dgm:prSet phldrT="[Text]" custT="1"/>
      <dgm:spPr>
        <a:solidFill>
          <a:schemeClr val="bg1">
            <a:lumMod val="85000"/>
            <a:alpha val="90000"/>
          </a:schemeClr>
        </a:solidFill>
      </dgm:spPr>
      <dgm:t>
        <a:bodyPr/>
        <a:lstStyle/>
        <a:p>
          <a:r>
            <a:rPr lang="en-IN" sz="1200" dirty="0"/>
            <a:t>Forecast Accuracy</a:t>
          </a:r>
        </a:p>
      </dgm:t>
    </dgm:pt>
    <dgm:pt modelId="{D744237A-CE35-426D-A0FF-7B489FD3E1EA}" type="parTrans" cxnId="{FBFDC956-5AD8-433E-B39B-57E19A6E8E64}">
      <dgm:prSet/>
      <dgm:spPr/>
      <dgm:t>
        <a:bodyPr/>
        <a:lstStyle/>
        <a:p>
          <a:endParaRPr lang="en-IN" sz="1200"/>
        </a:p>
      </dgm:t>
    </dgm:pt>
    <dgm:pt modelId="{B3D82387-A475-4B94-B2C3-23360B9826E0}" type="sibTrans" cxnId="{FBFDC956-5AD8-433E-B39B-57E19A6E8E64}">
      <dgm:prSet/>
      <dgm:spPr/>
      <dgm:t>
        <a:bodyPr/>
        <a:lstStyle/>
        <a:p>
          <a:endParaRPr lang="en-IN" sz="1200"/>
        </a:p>
      </dgm:t>
    </dgm:pt>
    <dgm:pt modelId="{A134BBB0-8475-4FE0-9D32-8AECFDABE378}">
      <dgm:prSet phldrT="[Text]" custT="1"/>
      <dgm:spPr>
        <a:solidFill>
          <a:schemeClr val="bg1">
            <a:lumMod val="85000"/>
            <a:alpha val="90000"/>
          </a:schemeClr>
        </a:solidFill>
      </dgm:spPr>
      <dgm:t>
        <a:bodyPr/>
        <a:lstStyle/>
        <a:p>
          <a:endParaRPr lang="en-IN" sz="1200" dirty="0"/>
        </a:p>
      </dgm:t>
    </dgm:pt>
    <dgm:pt modelId="{D4AD95B1-F63D-464C-BA89-8379E4113D82}" type="parTrans" cxnId="{74C404E4-BB5F-40A0-B97D-4DD05E5ED0EF}">
      <dgm:prSet/>
      <dgm:spPr/>
      <dgm:t>
        <a:bodyPr/>
        <a:lstStyle/>
        <a:p>
          <a:endParaRPr lang="en-IN"/>
        </a:p>
      </dgm:t>
    </dgm:pt>
    <dgm:pt modelId="{4982F7D7-8E04-4204-836A-8531507E8067}" type="sibTrans" cxnId="{74C404E4-BB5F-40A0-B97D-4DD05E5ED0EF}">
      <dgm:prSet/>
      <dgm:spPr/>
      <dgm:t>
        <a:bodyPr/>
        <a:lstStyle/>
        <a:p>
          <a:endParaRPr lang="en-IN"/>
        </a:p>
      </dgm:t>
    </dgm:pt>
    <dgm:pt modelId="{951D7917-4C01-464E-B97F-3290266D9337}" type="pres">
      <dgm:prSet presAssocID="{CFA3FE11-8A51-4A1D-91AA-64D72E5F372B}" presName="Name0" presStyleCnt="0">
        <dgm:presLayoutVars>
          <dgm:dir/>
          <dgm:animLvl val="lvl"/>
          <dgm:resizeHandles val="exact"/>
        </dgm:presLayoutVars>
      </dgm:prSet>
      <dgm:spPr/>
    </dgm:pt>
    <dgm:pt modelId="{F9D0589D-8EE1-4B50-919A-281BDFFCCCAC}" type="pres">
      <dgm:prSet presAssocID="{374D40B0-CAB8-4455-B564-795CE64B4616}" presName="Name8" presStyleCnt="0"/>
      <dgm:spPr/>
    </dgm:pt>
    <dgm:pt modelId="{844672CC-36C0-4BD3-93A0-22E3436F49B5}" type="pres">
      <dgm:prSet presAssocID="{374D40B0-CAB8-4455-B564-795CE64B4616}" presName="acctBkgd" presStyleLbl="alignAcc1" presStyleIdx="0" presStyleCnt="3" custScaleX="101202" custLinFactNeighborX="-103" custLinFactNeighborY="-836"/>
      <dgm:spPr/>
    </dgm:pt>
    <dgm:pt modelId="{456C3FB4-2C75-42DA-A326-58FB634FA35C}" type="pres">
      <dgm:prSet presAssocID="{374D40B0-CAB8-4455-B564-795CE64B4616}" presName="acctTx" presStyleLbl="alignAcc1" presStyleIdx="0" presStyleCnt="3">
        <dgm:presLayoutVars>
          <dgm:bulletEnabled val="1"/>
        </dgm:presLayoutVars>
      </dgm:prSet>
      <dgm:spPr/>
    </dgm:pt>
    <dgm:pt modelId="{F244EBDD-52B1-40F8-92EC-C8D91B51976A}" type="pres">
      <dgm:prSet presAssocID="{374D40B0-CAB8-4455-B564-795CE64B4616}" presName="level" presStyleLbl="node1" presStyleIdx="0" presStyleCnt="3">
        <dgm:presLayoutVars>
          <dgm:chMax val="1"/>
          <dgm:bulletEnabled val="1"/>
        </dgm:presLayoutVars>
      </dgm:prSet>
      <dgm:spPr/>
    </dgm:pt>
    <dgm:pt modelId="{D1311C73-75F3-4A81-BD22-D08E48B29A11}" type="pres">
      <dgm:prSet presAssocID="{374D40B0-CAB8-4455-B564-795CE64B4616}" presName="levelTx" presStyleLbl="revTx" presStyleIdx="0" presStyleCnt="0">
        <dgm:presLayoutVars>
          <dgm:chMax val="1"/>
          <dgm:bulletEnabled val="1"/>
        </dgm:presLayoutVars>
      </dgm:prSet>
      <dgm:spPr/>
    </dgm:pt>
    <dgm:pt modelId="{9AE178BE-977F-47AD-9AA5-B042B9AAAD28}" type="pres">
      <dgm:prSet presAssocID="{BE09F35E-840F-4258-9987-B2C78DE8179C}" presName="Name8" presStyleCnt="0"/>
      <dgm:spPr/>
    </dgm:pt>
    <dgm:pt modelId="{FD63DE7E-A11B-4EFA-8144-22D1C51CBF8B}" type="pres">
      <dgm:prSet presAssocID="{BE09F35E-840F-4258-9987-B2C78DE8179C}" presName="acctBkgd" presStyleLbl="alignAcc1" presStyleIdx="1" presStyleCnt="3" custScaleX="101439"/>
      <dgm:spPr/>
    </dgm:pt>
    <dgm:pt modelId="{82A0B878-EDD2-42D4-B113-963E7BDD2607}" type="pres">
      <dgm:prSet presAssocID="{BE09F35E-840F-4258-9987-B2C78DE8179C}" presName="acctTx" presStyleLbl="alignAcc1" presStyleIdx="1" presStyleCnt="3">
        <dgm:presLayoutVars>
          <dgm:bulletEnabled val="1"/>
        </dgm:presLayoutVars>
      </dgm:prSet>
      <dgm:spPr/>
    </dgm:pt>
    <dgm:pt modelId="{2258C1B9-6CAD-4EDC-BC5F-8B2F925368BD}" type="pres">
      <dgm:prSet presAssocID="{BE09F35E-840F-4258-9987-B2C78DE8179C}" presName="level" presStyleLbl="node1" presStyleIdx="1" presStyleCnt="3">
        <dgm:presLayoutVars>
          <dgm:chMax val="1"/>
          <dgm:bulletEnabled val="1"/>
        </dgm:presLayoutVars>
      </dgm:prSet>
      <dgm:spPr/>
    </dgm:pt>
    <dgm:pt modelId="{4D8D76C3-F5CA-4532-9642-2094673E709F}" type="pres">
      <dgm:prSet presAssocID="{BE09F35E-840F-4258-9987-B2C78DE8179C}" presName="levelTx" presStyleLbl="revTx" presStyleIdx="0" presStyleCnt="0">
        <dgm:presLayoutVars>
          <dgm:chMax val="1"/>
          <dgm:bulletEnabled val="1"/>
        </dgm:presLayoutVars>
      </dgm:prSet>
      <dgm:spPr/>
    </dgm:pt>
    <dgm:pt modelId="{7BC9440F-7F49-4A71-AEEA-1530A126905D}" type="pres">
      <dgm:prSet presAssocID="{06BCE02A-A85F-410F-8375-CFF4D8C0C298}" presName="Name8" presStyleCnt="0"/>
      <dgm:spPr/>
    </dgm:pt>
    <dgm:pt modelId="{56F53C20-248D-45B1-900D-609AC6631F44}" type="pres">
      <dgm:prSet presAssocID="{06BCE02A-A85F-410F-8375-CFF4D8C0C298}" presName="acctBkgd" presStyleLbl="alignAcc1" presStyleIdx="2" presStyleCnt="3" custScaleX="103236"/>
      <dgm:spPr/>
    </dgm:pt>
    <dgm:pt modelId="{1C8434F3-3E07-421E-A3E6-EC304719790D}" type="pres">
      <dgm:prSet presAssocID="{06BCE02A-A85F-410F-8375-CFF4D8C0C298}" presName="acctTx" presStyleLbl="alignAcc1" presStyleIdx="2" presStyleCnt="3">
        <dgm:presLayoutVars>
          <dgm:bulletEnabled val="1"/>
        </dgm:presLayoutVars>
      </dgm:prSet>
      <dgm:spPr/>
    </dgm:pt>
    <dgm:pt modelId="{407BAC6E-DB42-47ED-B4B3-8C3DF3B5FA34}" type="pres">
      <dgm:prSet presAssocID="{06BCE02A-A85F-410F-8375-CFF4D8C0C298}" presName="level" presStyleLbl="node1" presStyleIdx="2" presStyleCnt="3">
        <dgm:presLayoutVars>
          <dgm:chMax val="1"/>
          <dgm:bulletEnabled val="1"/>
        </dgm:presLayoutVars>
      </dgm:prSet>
      <dgm:spPr/>
    </dgm:pt>
    <dgm:pt modelId="{5B973A07-941E-407F-90F9-D6C74F5CEC8F}" type="pres">
      <dgm:prSet presAssocID="{06BCE02A-A85F-410F-8375-CFF4D8C0C298}" presName="levelTx" presStyleLbl="revTx" presStyleIdx="0" presStyleCnt="0">
        <dgm:presLayoutVars>
          <dgm:chMax val="1"/>
          <dgm:bulletEnabled val="1"/>
        </dgm:presLayoutVars>
      </dgm:prSet>
      <dgm:spPr/>
    </dgm:pt>
  </dgm:ptLst>
  <dgm:cxnLst>
    <dgm:cxn modelId="{F8578D01-A98A-4B9D-A955-7CEB4341079D}" type="presOf" srcId="{E1DA1BBB-1A8D-410B-B223-60EC627A5BF4}" destId="{56F53C20-248D-45B1-900D-609AC6631F44}" srcOrd="0" destOrd="1" presId="urn:microsoft.com/office/officeart/2005/8/layout/pyramid1"/>
    <dgm:cxn modelId="{74F37F10-E06E-492C-A19F-06C4BF537BDD}" type="presOf" srcId="{F793ED76-44B6-4A54-ACF5-5CF331E542BA}" destId="{82A0B878-EDD2-42D4-B113-963E7BDD2607}" srcOrd="1" destOrd="1" presId="urn:microsoft.com/office/officeart/2005/8/layout/pyramid1"/>
    <dgm:cxn modelId="{2967E210-DF0A-415D-89BB-6CBAFE72AB0E}" type="presOf" srcId="{E554030D-B8F9-4F72-84DE-789B5ECC5BF4}" destId="{844672CC-36C0-4BD3-93A0-22E3436F49B5}" srcOrd="0" destOrd="1" presId="urn:microsoft.com/office/officeart/2005/8/layout/pyramid1"/>
    <dgm:cxn modelId="{893A5A13-1467-4AC6-A4E8-E8728FB0A2B7}" type="presOf" srcId="{AABE8F76-EFC3-47FB-A8CE-C7EDB58E2847}" destId="{82A0B878-EDD2-42D4-B113-963E7BDD2607}" srcOrd="1" destOrd="2" presId="urn:microsoft.com/office/officeart/2005/8/layout/pyramid1"/>
    <dgm:cxn modelId="{24E10015-6DDA-414F-9CB0-E546E4621F49}" type="presOf" srcId="{BE09F35E-840F-4258-9987-B2C78DE8179C}" destId="{2258C1B9-6CAD-4EDC-BC5F-8B2F925368BD}" srcOrd="0" destOrd="0" presId="urn:microsoft.com/office/officeart/2005/8/layout/pyramid1"/>
    <dgm:cxn modelId="{8725792D-EE1D-4DCB-9A1F-8A8723565F9E}" type="presOf" srcId="{14DA9D15-1DFE-44C3-A44C-8CBE0E86A667}" destId="{844672CC-36C0-4BD3-93A0-22E3436F49B5}" srcOrd="0" destOrd="2" presId="urn:microsoft.com/office/officeart/2005/8/layout/pyramid1"/>
    <dgm:cxn modelId="{9540F12D-7214-44E5-B9BC-B4B8DBB38B65}" type="presOf" srcId="{06BCE02A-A85F-410F-8375-CFF4D8C0C298}" destId="{5B973A07-941E-407F-90F9-D6C74F5CEC8F}" srcOrd="1" destOrd="0" presId="urn:microsoft.com/office/officeart/2005/8/layout/pyramid1"/>
    <dgm:cxn modelId="{595DA43B-3454-4BE6-B8ED-7572851E6473}" srcId="{CFA3FE11-8A51-4A1D-91AA-64D72E5F372B}" destId="{BE09F35E-840F-4258-9987-B2C78DE8179C}" srcOrd="1" destOrd="0" parTransId="{8A8287DA-EEF8-4FF1-829F-EC8CDA6147B6}" sibTransId="{6EBFDD69-84EB-4255-8786-2E7114AABD68}"/>
    <dgm:cxn modelId="{279F683D-2DF9-4208-B56F-CFEFD58EB41C}" srcId="{BE09F35E-840F-4258-9987-B2C78DE8179C}" destId="{584DBC80-158B-45EF-9B9B-44392E29DB4B}" srcOrd="0" destOrd="0" parTransId="{117E229B-FDF2-45EF-8173-5D301EEBE82B}" sibTransId="{3B7A6F88-A3E3-48D0-A764-77814C769493}"/>
    <dgm:cxn modelId="{B978E65B-1623-4226-8D3B-0F9AC4B530ED}" type="presOf" srcId="{584DBC80-158B-45EF-9B9B-44392E29DB4B}" destId="{82A0B878-EDD2-42D4-B113-963E7BDD2607}" srcOrd="1" destOrd="0" presId="urn:microsoft.com/office/officeart/2005/8/layout/pyramid1"/>
    <dgm:cxn modelId="{732FDA5F-E163-460B-A348-1031AAA583A0}" srcId="{06BCE02A-A85F-410F-8375-CFF4D8C0C298}" destId="{E76FFD1E-9678-4E61-ADED-32FE0B5D0EB3}" srcOrd="0" destOrd="0" parTransId="{2EB78FB5-DEC3-491A-81F5-EF5723B267FF}" sibTransId="{AF0B5608-57BA-4B7C-AAD5-6FD369C46B2A}"/>
    <dgm:cxn modelId="{56248B43-BE80-42ED-9780-DBB3F7CF5F60}" type="presOf" srcId="{A134BBB0-8475-4FE0-9D32-8AECFDABE378}" destId="{1C8434F3-3E07-421E-A3E6-EC304719790D}" srcOrd="1" destOrd="2" presId="urn:microsoft.com/office/officeart/2005/8/layout/pyramid1"/>
    <dgm:cxn modelId="{9E844865-CC99-4AFF-96B8-0F98C7CE392A}" type="presOf" srcId="{FADB2475-2347-44C2-BB3F-EDD02FEBE6E4}" destId="{456C3FB4-2C75-42DA-A326-58FB634FA35C}" srcOrd="1" destOrd="0" presId="urn:microsoft.com/office/officeart/2005/8/layout/pyramid1"/>
    <dgm:cxn modelId="{39C22247-0645-4CBD-8D5C-07C6F5E9561F}" srcId="{CFA3FE11-8A51-4A1D-91AA-64D72E5F372B}" destId="{06BCE02A-A85F-410F-8375-CFF4D8C0C298}" srcOrd="2" destOrd="0" parTransId="{40CCE1BC-EE7B-4845-83D6-21BC529C7F9B}" sibTransId="{51D694C2-FB26-43DA-A655-291EF6A5ED5F}"/>
    <dgm:cxn modelId="{EB65ED48-8F65-4291-A645-3D84FA1629EE}" srcId="{BE09F35E-840F-4258-9987-B2C78DE8179C}" destId="{F793ED76-44B6-4A54-ACF5-5CF331E542BA}" srcOrd="1" destOrd="0" parTransId="{E1FC50C6-85F3-49E1-9446-C6677D95E1A0}" sibTransId="{841779FA-66E7-486D-9A52-6A8C96B0440C}"/>
    <dgm:cxn modelId="{8F4ACA6B-B3EA-44B8-B369-542E924DCE28}" srcId="{CFA3FE11-8A51-4A1D-91AA-64D72E5F372B}" destId="{374D40B0-CAB8-4455-B564-795CE64B4616}" srcOrd="0" destOrd="0" parTransId="{85EB45E1-DF7F-43D0-BA50-65AFE6F6EDE8}" sibTransId="{30EEDEF7-AE64-4B3A-9D6B-72139FCF8DB8}"/>
    <dgm:cxn modelId="{D743096D-7EB6-402B-8CBB-03CF2366B406}" type="presOf" srcId="{CFA3FE11-8A51-4A1D-91AA-64D72E5F372B}" destId="{951D7917-4C01-464E-B97F-3290266D9337}" srcOrd="0" destOrd="0" presId="urn:microsoft.com/office/officeart/2005/8/layout/pyramid1"/>
    <dgm:cxn modelId="{FBFDC956-5AD8-433E-B39B-57E19A6E8E64}" srcId="{374D40B0-CAB8-4455-B564-795CE64B4616}" destId="{14DA9D15-1DFE-44C3-A44C-8CBE0E86A667}" srcOrd="2" destOrd="0" parTransId="{D744237A-CE35-426D-A0FF-7B489FD3E1EA}" sibTransId="{B3D82387-A475-4B94-B2C3-23360B9826E0}"/>
    <dgm:cxn modelId="{01093077-068B-4923-860D-EB9C5E51ED76}" srcId="{374D40B0-CAB8-4455-B564-795CE64B4616}" destId="{E554030D-B8F9-4F72-84DE-789B5ECC5BF4}" srcOrd="1" destOrd="0" parTransId="{50801AA5-25A1-400F-A4D7-219DD1DAAFCE}" sibTransId="{F898CB30-10BF-4568-9C5D-C817CFFDEE38}"/>
    <dgm:cxn modelId="{84EC0F78-76C8-4454-A105-F3A987BFC9EE}" type="presOf" srcId="{584DBC80-158B-45EF-9B9B-44392E29DB4B}" destId="{FD63DE7E-A11B-4EFA-8144-22D1C51CBF8B}" srcOrd="0" destOrd="0" presId="urn:microsoft.com/office/officeart/2005/8/layout/pyramid1"/>
    <dgm:cxn modelId="{4C58A67B-50A7-40BC-BB22-F5D148A3B36C}" srcId="{06BCE02A-A85F-410F-8375-CFF4D8C0C298}" destId="{E1DA1BBB-1A8D-410B-B223-60EC627A5BF4}" srcOrd="1" destOrd="0" parTransId="{544159F3-5FAF-4376-8F35-A253DCDECFBE}" sibTransId="{3CE9247C-7DA2-4886-8E54-0E7451CB48CB}"/>
    <dgm:cxn modelId="{9A4E4285-6972-4FFA-9908-4B10C548D02C}" type="presOf" srcId="{A134BBB0-8475-4FE0-9D32-8AECFDABE378}" destId="{56F53C20-248D-45B1-900D-609AC6631F44}" srcOrd="0" destOrd="2" presId="urn:microsoft.com/office/officeart/2005/8/layout/pyramid1"/>
    <dgm:cxn modelId="{E6239E89-C472-440B-9B7D-A6D7662963F2}" type="presOf" srcId="{F793ED76-44B6-4A54-ACF5-5CF331E542BA}" destId="{FD63DE7E-A11B-4EFA-8144-22D1C51CBF8B}" srcOrd="0" destOrd="1" presId="urn:microsoft.com/office/officeart/2005/8/layout/pyramid1"/>
    <dgm:cxn modelId="{250E1493-FA0E-4D0F-A9B2-839D410BD79C}" srcId="{374D40B0-CAB8-4455-B564-795CE64B4616}" destId="{FADB2475-2347-44C2-BB3F-EDD02FEBE6E4}" srcOrd="0" destOrd="0" parTransId="{574F4105-605A-4B11-A2D9-4317C2E03064}" sibTransId="{7F62CC6B-182C-48D6-8C80-20EC3D87F343}"/>
    <dgm:cxn modelId="{55628893-F900-4719-BC9E-D85A0827E4B2}" type="presOf" srcId="{E76FFD1E-9678-4E61-ADED-32FE0B5D0EB3}" destId="{1C8434F3-3E07-421E-A3E6-EC304719790D}" srcOrd="1" destOrd="0" presId="urn:microsoft.com/office/officeart/2005/8/layout/pyramid1"/>
    <dgm:cxn modelId="{AC370AA5-1C4D-46E7-B020-1C8355939DA0}" type="presOf" srcId="{06BCE02A-A85F-410F-8375-CFF4D8C0C298}" destId="{407BAC6E-DB42-47ED-B4B3-8C3DF3B5FA34}" srcOrd="0" destOrd="0" presId="urn:microsoft.com/office/officeart/2005/8/layout/pyramid1"/>
    <dgm:cxn modelId="{50E639AE-C8D7-426E-99D2-CC77B767341E}" type="presOf" srcId="{E554030D-B8F9-4F72-84DE-789B5ECC5BF4}" destId="{456C3FB4-2C75-42DA-A326-58FB634FA35C}" srcOrd="1" destOrd="1" presId="urn:microsoft.com/office/officeart/2005/8/layout/pyramid1"/>
    <dgm:cxn modelId="{9BF327C0-D7C7-41AF-9D7F-42FB2C6DDFCD}" type="presOf" srcId="{AABE8F76-EFC3-47FB-A8CE-C7EDB58E2847}" destId="{FD63DE7E-A11B-4EFA-8144-22D1C51CBF8B}" srcOrd="0" destOrd="2" presId="urn:microsoft.com/office/officeart/2005/8/layout/pyramid1"/>
    <dgm:cxn modelId="{D589C3D0-F57F-4D55-9AD7-9624BEB40D45}" type="presOf" srcId="{BE09F35E-840F-4258-9987-B2C78DE8179C}" destId="{4D8D76C3-F5CA-4532-9642-2094673E709F}" srcOrd="1" destOrd="0" presId="urn:microsoft.com/office/officeart/2005/8/layout/pyramid1"/>
    <dgm:cxn modelId="{66316DD2-C26E-43FB-9957-D93F8CB346D7}" type="presOf" srcId="{14DA9D15-1DFE-44C3-A44C-8CBE0E86A667}" destId="{456C3FB4-2C75-42DA-A326-58FB634FA35C}" srcOrd="1" destOrd="2" presId="urn:microsoft.com/office/officeart/2005/8/layout/pyramid1"/>
    <dgm:cxn modelId="{6FBCEBD8-A48D-439A-A14A-565F4327EC68}" type="presOf" srcId="{E76FFD1E-9678-4E61-ADED-32FE0B5D0EB3}" destId="{56F53C20-248D-45B1-900D-609AC6631F44}" srcOrd="0" destOrd="0" presId="urn:microsoft.com/office/officeart/2005/8/layout/pyramid1"/>
    <dgm:cxn modelId="{717367E0-8DA2-4092-BC95-B20B0451410A}" type="presOf" srcId="{374D40B0-CAB8-4455-B564-795CE64B4616}" destId="{D1311C73-75F3-4A81-BD22-D08E48B29A11}" srcOrd="1" destOrd="0" presId="urn:microsoft.com/office/officeart/2005/8/layout/pyramid1"/>
    <dgm:cxn modelId="{74C404E4-BB5F-40A0-B97D-4DD05E5ED0EF}" srcId="{06BCE02A-A85F-410F-8375-CFF4D8C0C298}" destId="{A134BBB0-8475-4FE0-9D32-8AECFDABE378}" srcOrd="2" destOrd="0" parTransId="{D4AD95B1-F63D-464C-BA89-8379E4113D82}" sibTransId="{4982F7D7-8E04-4204-836A-8531507E8067}"/>
    <dgm:cxn modelId="{B6A121ED-D18A-4E7F-9230-CC9F390554CC}" type="presOf" srcId="{FADB2475-2347-44C2-BB3F-EDD02FEBE6E4}" destId="{844672CC-36C0-4BD3-93A0-22E3436F49B5}" srcOrd="0" destOrd="0" presId="urn:microsoft.com/office/officeart/2005/8/layout/pyramid1"/>
    <dgm:cxn modelId="{5636A4EF-D65E-4B51-A65B-5FA05C50046C}" type="presOf" srcId="{374D40B0-CAB8-4455-B564-795CE64B4616}" destId="{F244EBDD-52B1-40F8-92EC-C8D91B51976A}" srcOrd="0" destOrd="0" presId="urn:microsoft.com/office/officeart/2005/8/layout/pyramid1"/>
    <dgm:cxn modelId="{9D5D3CF8-D304-46DC-8F16-7BCF25FA2189}" srcId="{BE09F35E-840F-4258-9987-B2C78DE8179C}" destId="{AABE8F76-EFC3-47FB-A8CE-C7EDB58E2847}" srcOrd="2" destOrd="0" parTransId="{2BEE1435-7859-48AC-ABD7-CC524D653A7B}" sibTransId="{08201668-9495-46CC-A521-FBF4C6284451}"/>
    <dgm:cxn modelId="{3F26B6F9-37FF-403E-8DB4-C50A7EF4D559}" type="presOf" srcId="{E1DA1BBB-1A8D-410B-B223-60EC627A5BF4}" destId="{1C8434F3-3E07-421E-A3E6-EC304719790D}" srcOrd="1" destOrd="1" presId="urn:microsoft.com/office/officeart/2005/8/layout/pyramid1"/>
    <dgm:cxn modelId="{93719E9A-DFE1-48FB-A9EA-E0EDE0B27DA8}" type="presParOf" srcId="{951D7917-4C01-464E-B97F-3290266D9337}" destId="{F9D0589D-8EE1-4B50-919A-281BDFFCCCAC}" srcOrd="0" destOrd="0" presId="urn:microsoft.com/office/officeart/2005/8/layout/pyramid1"/>
    <dgm:cxn modelId="{DFBE8D79-0AF1-44EA-B2A5-64E0087975FC}" type="presParOf" srcId="{F9D0589D-8EE1-4B50-919A-281BDFFCCCAC}" destId="{844672CC-36C0-4BD3-93A0-22E3436F49B5}" srcOrd="0" destOrd="0" presId="urn:microsoft.com/office/officeart/2005/8/layout/pyramid1"/>
    <dgm:cxn modelId="{1B5E14DE-435F-4507-AD3C-A03152447EE8}" type="presParOf" srcId="{F9D0589D-8EE1-4B50-919A-281BDFFCCCAC}" destId="{456C3FB4-2C75-42DA-A326-58FB634FA35C}" srcOrd="1" destOrd="0" presId="urn:microsoft.com/office/officeart/2005/8/layout/pyramid1"/>
    <dgm:cxn modelId="{C9E495E4-CAB3-4E5E-B429-016D0731CBF3}" type="presParOf" srcId="{F9D0589D-8EE1-4B50-919A-281BDFFCCCAC}" destId="{F244EBDD-52B1-40F8-92EC-C8D91B51976A}" srcOrd="2" destOrd="0" presId="urn:microsoft.com/office/officeart/2005/8/layout/pyramid1"/>
    <dgm:cxn modelId="{494B0656-9CB8-4BD8-9939-30709B02206B}" type="presParOf" srcId="{F9D0589D-8EE1-4B50-919A-281BDFFCCCAC}" destId="{D1311C73-75F3-4A81-BD22-D08E48B29A11}" srcOrd="3" destOrd="0" presId="urn:microsoft.com/office/officeart/2005/8/layout/pyramid1"/>
    <dgm:cxn modelId="{5388B884-479D-40CB-A2EE-6C7A90174314}" type="presParOf" srcId="{951D7917-4C01-464E-B97F-3290266D9337}" destId="{9AE178BE-977F-47AD-9AA5-B042B9AAAD28}" srcOrd="1" destOrd="0" presId="urn:microsoft.com/office/officeart/2005/8/layout/pyramid1"/>
    <dgm:cxn modelId="{B1A4C824-389C-46F6-850C-4B3662A97DA9}" type="presParOf" srcId="{9AE178BE-977F-47AD-9AA5-B042B9AAAD28}" destId="{FD63DE7E-A11B-4EFA-8144-22D1C51CBF8B}" srcOrd="0" destOrd="0" presId="urn:microsoft.com/office/officeart/2005/8/layout/pyramid1"/>
    <dgm:cxn modelId="{8C3A8C76-AE29-4FDF-A0E0-D34D6849FE1C}" type="presParOf" srcId="{9AE178BE-977F-47AD-9AA5-B042B9AAAD28}" destId="{82A0B878-EDD2-42D4-B113-963E7BDD2607}" srcOrd="1" destOrd="0" presId="urn:microsoft.com/office/officeart/2005/8/layout/pyramid1"/>
    <dgm:cxn modelId="{6D664FA2-E84C-48D1-B394-5921500A8EFA}" type="presParOf" srcId="{9AE178BE-977F-47AD-9AA5-B042B9AAAD28}" destId="{2258C1B9-6CAD-4EDC-BC5F-8B2F925368BD}" srcOrd="2" destOrd="0" presId="urn:microsoft.com/office/officeart/2005/8/layout/pyramid1"/>
    <dgm:cxn modelId="{22838B1A-BEEB-4A11-803E-BAA6F355ED3C}" type="presParOf" srcId="{9AE178BE-977F-47AD-9AA5-B042B9AAAD28}" destId="{4D8D76C3-F5CA-4532-9642-2094673E709F}" srcOrd="3" destOrd="0" presId="urn:microsoft.com/office/officeart/2005/8/layout/pyramid1"/>
    <dgm:cxn modelId="{DB5C293D-4D30-4488-A96E-6BAE9BE97479}" type="presParOf" srcId="{951D7917-4C01-464E-B97F-3290266D9337}" destId="{7BC9440F-7F49-4A71-AEEA-1530A126905D}" srcOrd="2" destOrd="0" presId="urn:microsoft.com/office/officeart/2005/8/layout/pyramid1"/>
    <dgm:cxn modelId="{A5318E2F-B9E6-4F56-87BC-21E50486F96D}" type="presParOf" srcId="{7BC9440F-7F49-4A71-AEEA-1530A126905D}" destId="{56F53C20-248D-45B1-900D-609AC6631F44}" srcOrd="0" destOrd="0" presId="urn:microsoft.com/office/officeart/2005/8/layout/pyramid1"/>
    <dgm:cxn modelId="{8FDF07A7-762A-414F-8158-26C18D6EB2F3}" type="presParOf" srcId="{7BC9440F-7F49-4A71-AEEA-1530A126905D}" destId="{1C8434F3-3E07-421E-A3E6-EC304719790D}" srcOrd="1" destOrd="0" presId="urn:microsoft.com/office/officeart/2005/8/layout/pyramid1"/>
    <dgm:cxn modelId="{3BDF2C71-6F73-4184-813A-19C18F824B6A}" type="presParOf" srcId="{7BC9440F-7F49-4A71-AEEA-1530A126905D}" destId="{407BAC6E-DB42-47ED-B4B3-8C3DF3B5FA34}" srcOrd="2" destOrd="0" presId="urn:microsoft.com/office/officeart/2005/8/layout/pyramid1"/>
    <dgm:cxn modelId="{6E33FD4B-5716-4D4F-B9C8-804F439A27E7}" type="presParOf" srcId="{7BC9440F-7F49-4A71-AEEA-1530A126905D}" destId="{5B973A07-941E-407F-90F9-D6C74F5CEC8F}" srcOrd="3" destOrd="0" presId="urn:microsoft.com/office/officeart/2005/8/layout/pyramid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DEBBC3-B957-4052-AD79-7270AE277C2E}">
      <dsp:nvSpPr>
        <dsp:cNvPr id="0" name=""/>
        <dsp:cNvSpPr/>
      </dsp:nvSpPr>
      <dsp:spPr>
        <a:xfrm>
          <a:off x="3968" y="350064"/>
          <a:ext cx="1230312" cy="738187"/>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1" kern="1200" dirty="0">
              <a:solidFill>
                <a:schemeClr val="bg1"/>
              </a:solidFill>
            </a:rPr>
            <a:t>Data Collection</a:t>
          </a:r>
        </a:p>
      </dsp:txBody>
      <dsp:txXfrm>
        <a:off x="25589" y="371685"/>
        <a:ext cx="1187070" cy="694945"/>
      </dsp:txXfrm>
    </dsp:sp>
    <dsp:sp modelId="{C8D925C6-D82B-4875-A0D2-064AF9DFB969}">
      <dsp:nvSpPr>
        <dsp:cNvPr id="0" name=""/>
        <dsp:cNvSpPr/>
      </dsp:nvSpPr>
      <dsp:spPr>
        <a:xfrm>
          <a:off x="1357312" y="566599"/>
          <a:ext cx="260826" cy="305117"/>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IN" sz="1000" b="1" kern="1200">
            <a:solidFill>
              <a:schemeClr val="bg1"/>
            </a:solidFill>
          </a:endParaRPr>
        </a:p>
      </dsp:txBody>
      <dsp:txXfrm>
        <a:off x="1357312" y="627622"/>
        <a:ext cx="182578" cy="183071"/>
      </dsp:txXfrm>
    </dsp:sp>
    <dsp:sp modelId="{887941A7-F007-4CDC-9F6F-D3AA363F10FD}">
      <dsp:nvSpPr>
        <dsp:cNvPr id="0" name=""/>
        <dsp:cNvSpPr/>
      </dsp:nvSpPr>
      <dsp:spPr>
        <a:xfrm>
          <a:off x="1726406" y="350064"/>
          <a:ext cx="1230312" cy="738187"/>
        </a:xfrm>
        <a:prstGeom prst="roundRect">
          <a:avLst>
            <a:gd name="adj" fmla="val 10000"/>
          </a:avLst>
        </a:prstGeom>
        <a:solidFill>
          <a:schemeClr val="accent2">
            <a:hueOff val="1610903"/>
            <a:satOff val="-4623"/>
            <a:lumOff val="-7402"/>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1" kern="1200" dirty="0">
              <a:solidFill>
                <a:schemeClr val="bg1"/>
              </a:solidFill>
            </a:rPr>
            <a:t>Data Preparation</a:t>
          </a:r>
        </a:p>
      </dsp:txBody>
      <dsp:txXfrm>
        <a:off x="1748027" y="371685"/>
        <a:ext cx="1187070" cy="694945"/>
      </dsp:txXfrm>
    </dsp:sp>
    <dsp:sp modelId="{956FB709-7120-459D-BEB5-CE9B180B519A}">
      <dsp:nvSpPr>
        <dsp:cNvPr id="0" name=""/>
        <dsp:cNvSpPr/>
      </dsp:nvSpPr>
      <dsp:spPr>
        <a:xfrm>
          <a:off x="3079750" y="566599"/>
          <a:ext cx="260826" cy="305117"/>
        </a:xfrm>
        <a:prstGeom prst="rightArrow">
          <a:avLst>
            <a:gd name="adj1" fmla="val 60000"/>
            <a:gd name="adj2" fmla="val 50000"/>
          </a:avLst>
        </a:prstGeom>
        <a:solidFill>
          <a:schemeClr val="accent2">
            <a:hueOff val="2147871"/>
            <a:satOff val="-6164"/>
            <a:lumOff val="-987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IN" sz="1000" b="1" kern="1200">
            <a:solidFill>
              <a:schemeClr val="bg1"/>
            </a:solidFill>
          </a:endParaRPr>
        </a:p>
      </dsp:txBody>
      <dsp:txXfrm>
        <a:off x="3079750" y="627622"/>
        <a:ext cx="182578" cy="183071"/>
      </dsp:txXfrm>
    </dsp:sp>
    <dsp:sp modelId="{021D455E-5DE2-4034-949C-CA1E9DFDE051}">
      <dsp:nvSpPr>
        <dsp:cNvPr id="0" name=""/>
        <dsp:cNvSpPr/>
      </dsp:nvSpPr>
      <dsp:spPr>
        <a:xfrm>
          <a:off x="3448843" y="350064"/>
          <a:ext cx="1230312" cy="738187"/>
        </a:xfrm>
        <a:prstGeom prst="roundRect">
          <a:avLst>
            <a:gd name="adj" fmla="val 10000"/>
          </a:avLst>
        </a:prstGeom>
        <a:solidFill>
          <a:schemeClr val="accent2">
            <a:hueOff val="3221807"/>
            <a:satOff val="-9246"/>
            <a:lumOff val="-14805"/>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1" kern="1200" dirty="0">
              <a:solidFill>
                <a:schemeClr val="bg1"/>
              </a:solidFill>
            </a:rPr>
            <a:t>Hypothesis Testing</a:t>
          </a:r>
        </a:p>
      </dsp:txBody>
      <dsp:txXfrm>
        <a:off x="3470464" y="371685"/>
        <a:ext cx="1187070" cy="694945"/>
      </dsp:txXfrm>
    </dsp:sp>
    <dsp:sp modelId="{46C61C06-5039-41A5-96AA-5953A75829D7}">
      <dsp:nvSpPr>
        <dsp:cNvPr id="0" name=""/>
        <dsp:cNvSpPr/>
      </dsp:nvSpPr>
      <dsp:spPr>
        <a:xfrm>
          <a:off x="4802187" y="566599"/>
          <a:ext cx="260826" cy="305117"/>
        </a:xfrm>
        <a:prstGeom prst="rightArrow">
          <a:avLst>
            <a:gd name="adj1" fmla="val 60000"/>
            <a:gd name="adj2" fmla="val 50000"/>
          </a:avLst>
        </a:prstGeom>
        <a:solidFill>
          <a:schemeClr val="accent2">
            <a:hueOff val="4295743"/>
            <a:satOff val="-12329"/>
            <a:lumOff val="-1973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IN" sz="1000" b="1" kern="1200">
            <a:solidFill>
              <a:schemeClr val="bg1"/>
            </a:solidFill>
          </a:endParaRPr>
        </a:p>
      </dsp:txBody>
      <dsp:txXfrm>
        <a:off x="4802187" y="627622"/>
        <a:ext cx="182578" cy="183071"/>
      </dsp:txXfrm>
    </dsp:sp>
    <dsp:sp modelId="{AE5002F2-9524-4D51-8747-ECFF60818F39}">
      <dsp:nvSpPr>
        <dsp:cNvPr id="0" name=""/>
        <dsp:cNvSpPr/>
      </dsp:nvSpPr>
      <dsp:spPr>
        <a:xfrm>
          <a:off x="5171281" y="350064"/>
          <a:ext cx="1230312" cy="738187"/>
        </a:xfrm>
        <a:prstGeom prst="roundRect">
          <a:avLst>
            <a:gd name="adj" fmla="val 10000"/>
          </a:avLst>
        </a:prstGeom>
        <a:solidFill>
          <a:schemeClr val="accent2">
            <a:hueOff val="4832710"/>
            <a:satOff val="-13870"/>
            <a:lumOff val="-22207"/>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1" kern="1200" dirty="0">
              <a:solidFill>
                <a:schemeClr val="bg1"/>
              </a:solidFill>
            </a:rPr>
            <a:t>Insights &amp; Validation</a:t>
          </a:r>
        </a:p>
      </dsp:txBody>
      <dsp:txXfrm>
        <a:off x="5192902" y="371685"/>
        <a:ext cx="1187070" cy="694945"/>
      </dsp:txXfrm>
    </dsp:sp>
    <dsp:sp modelId="{1A83183E-BFF2-4075-84A8-0B4CFA8879ED}">
      <dsp:nvSpPr>
        <dsp:cNvPr id="0" name=""/>
        <dsp:cNvSpPr/>
      </dsp:nvSpPr>
      <dsp:spPr>
        <a:xfrm>
          <a:off x="6524624" y="566599"/>
          <a:ext cx="260826" cy="305117"/>
        </a:xfrm>
        <a:prstGeom prst="rightArrow">
          <a:avLst>
            <a:gd name="adj1" fmla="val 60000"/>
            <a:gd name="adj2" fmla="val 50000"/>
          </a:avLst>
        </a:prstGeom>
        <a:solidFill>
          <a:schemeClr val="accent2">
            <a:hueOff val="6443614"/>
            <a:satOff val="-18493"/>
            <a:lumOff val="-2960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IN" sz="1000" b="1" kern="1200">
            <a:solidFill>
              <a:schemeClr val="bg1"/>
            </a:solidFill>
          </a:endParaRPr>
        </a:p>
      </dsp:txBody>
      <dsp:txXfrm>
        <a:off x="6524624" y="627622"/>
        <a:ext cx="182578" cy="183071"/>
      </dsp:txXfrm>
    </dsp:sp>
    <dsp:sp modelId="{3E159356-5D6A-4CF5-8B4C-80A3B4ED70CC}">
      <dsp:nvSpPr>
        <dsp:cNvPr id="0" name=""/>
        <dsp:cNvSpPr/>
      </dsp:nvSpPr>
      <dsp:spPr>
        <a:xfrm>
          <a:off x="6893718" y="350064"/>
          <a:ext cx="1230312" cy="738187"/>
        </a:xfrm>
        <a:prstGeom prst="roundRect">
          <a:avLst>
            <a:gd name="adj" fmla="val 10000"/>
          </a:avLst>
        </a:prstGeom>
        <a:solidFill>
          <a:schemeClr val="accent2">
            <a:hueOff val="6443614"/>
            <a:satOff val="-18493"/>
            <a:lumOff val="-2960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IN" sz="1000" b="1" kern="1200" dirty="0">
              <a:solidFill>
                <a:schemeClr val="bg1"/>
              </a:solidFill>
            </a:rPr>
            <a:t>Actionable Recommendations</a:t>
          </a:r>
        </a:p>
      </dsp:txBody>
      <dsp:txXfrm>
        <a:off x="6915339" y="371685"/>
        <a:ext cx="1187070" cy="69494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4672CC-36C0-4BD3-93A0-22E3436F49B5}">
      <dsp:nvSpPr>
        <dsp:cNvPr id="0" name=""/>
        <dsp:cNvSpPr/>
      </dsp:nvSpPr>
      <dsp:spPr>
        <a:xfrm rot="10800000">
          <a:off x="2013352" y="0"/>
          <a:ext cx="4052697" cy="1582902"/>
        </a:xfrm>
        <a:prstGeom prst="nonIsoscelesTrapezoid">
          <a:avLst>
            <a:gd name="adj1" fmla="val 0"/>
            <a:gd name="adj2" fmla="val 43442"/>
          </a:avLst>
        </a:prstGeom>
        <a:solidFill>
          <a:schemeClr val="bg1">
            <a:lumMod val="85000"/>
            <a:alpha val="90000"/>
          </a:schemeClr>
        </a:solidFill>
        <a:ln w="1905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247650" rIns="247650" bIns="247650" numCol="1" spcCol="1270" anchor="ctr" anchorCtr="0">
          <a:noAutofit/>
        </a:bodyPr>
        <a:lstStyle/>
        <a:p>
          <a:pPr marL="114300" lvl="1" indent="-114300" algn="l" defTabSz="533400">
            <a:lnSpc>
              <a:spcPct val="90000"/>
            </a:lnSpc>
            <a:spcBef>
              <a:spcPct val="0"/>
            </a:spcBef>
            <a:spcAft>
              <a:spcPct val="15000"/>
            </a:spcAft>
            <a:buChar char="•"/>
          </a:pPr>
          <a:r>
            <a:rPr lang="en-IN" sz="1200" kern="1200" dirty="0"/>
            <a:t>Carrying Cost</a:t>
          </a:r>
        </a:p>
        <a:p>
          <a:pPr marL="114300" lvl="1" indent="-114300" algn="l" defTabSz="533400">
            <a:lnSpc>
              <a:spcPct val="90000"/>
            </a:lnSpc>
            <a:spcBef>
              <a:spcPct val="0"/>
            </a:spcBef>
            <a:spcAft>
              <a:spcPct val="15000"/>
            </a:spcAft>
            <a:buChar char="•"/>
          </a:pPr>
          <a:r>
            <a:rPr lang="en-IN" sz="1200" kern="1200" dirty="0"/>
            <a:t>Demand fluctuation</a:t>
          </a:r>
        </a:p>
        <a:p>
          <a:pPr marL="114300" lvl="1" indent="-114300" algn="l" defTabSz="533400">
            <a:lnSpc>
              <a:spcPct val="90000"/>
            </a:lnSpc>
            <a:spcBef>
              <a:spcPct val="0"/>
            </a:spcBef>
            <a:spcAft>
              <a:spcPct val="15000"/>
            </a:spcAft>
            <a:buChar char="•"/>
          </a:pPr>
          <a:r>
            <a:rPr lang="en-IN" sz="1200" kern="1200" dirty="0"/>
            <a:t>Forecast Accuracy</a:t>
          </a:r>
        </a:p>
      </dsp:txBody>
      <dsp:txXfrm rot="10800000">
        <a:off x="2713453" y="0"/>
        <a:ext cx="3356779" cy="1582902"/>
      </dsp:txXfrm>
    </dsp:sp>
    <dsp:sp modelId="{F244EBDD-52B1-40F8-92EC-C8D91B51976A}">
      <dsp:nvSpPr>
        <dsp:cNvPr id="0" name=""/>
        <dsp:cNvSpPr/>
      </dsp:nvSpPr>
      <dsp:spPr>
        <a:xfrm>
          <a:off x="1353892" y="0"/>
          <a:ext cx="1375304" cy="1582902"/>
        </a:xfrm>
        <a:prstGeom prst="trapezoid">
          <a:avLst>
            <a:gd name="adj" fmla="val 5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kern="1200">
              <a:solidFill>
                <a:schemeClr val="bg1"/>
              </a:solidFill>
            </a:rPr>
            <a:t>High</a:t>
          </a:r>
          <a:endParaRPr lang="en-IN" sz="1200" kern="1200" dirty="0">
            <a:solidFill>
              <a:schemeClr val="bg1"/>
            </a:solidFill>
          </a:endParaRPr>
        </a:p>
        <a:p>
          <a:pPr marL="0" lvl="0" indent="0" algn="ctr" defTabSz="533400">
            <a:lnSpc>
              <a:spcPct val="90000"/>
            </a:lnSpc>
            <a:spcBef>
              <a:spcPct val="0"/>
            </a:spcBef>
            <a:spcAft>
              <a:spcPct val="35000"/>
            </a:spcAft>
            <a:buNone/>
          </a:pPr>
          <a:r>
            <a:rPr lang="en-IN" sz="1200" kern="1200" dirty="0">
              <a:solidFill>
                <a:schemeClr val="bg1"/>
              </a:solidFill>
            </a:rPr>
            <a:t>Priority</a:t>
          </a:r>
        </a:p>
      </dsp:txBody>
      <dsp:txXfrm>
        <a:off x="1353892" y="0"/>
        <a:ext cx="1375304" cy="1582902"/>
      </dsp:txXfrm>
    </dsp:sp>
    <dsp:sp modelId="{FD63DE7E-A11B-4EFA-8144-22D1C51CBF8B}">
      <dsp:nvSpPr>
        <dsp:cNvPr id="0" name=""/>
        <dsp:cNvSpPr/>
      </dsp:nvSpPr>
      <dsp:spPr>
        <a:xfrm rot="10800000">
          <a:off x="2705331" y="1582901"/>
          <a:ext cx="3364640" cy="1582902"/>
        </a:xfrm>
        <a:prstGeom prst="nonIsoscelesTrapezoid">
          <a:avLst>
            <a:gd name="adj1" fmla="val 0"/>
            <a:gd name="adj2" fmla="val 43442"/>
          </a:avLst>
        </a:prstGeom>
        <a:solidFill>
          <a:schemeClr val="bg1">
            <a:lumMod val="85000"/>
            <a:alpha val="90000"/>
          </a:schemeClr>
        </a:solidFill>
        <a:ln w="19050" cap="flat" cmpd="sng" algn="ctr">
          <a:solidFill>
            <a:schemeClr val="accent2">
              <a:hueOff val="3221807"/>
              <a:satOff val="-9246"/>
              <a:lumOff val="-1480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247650" rIns="247650" bIns="247650" numCol="1" spcCol="1270" anchor="ctr" anchorCtr="0">
          <a:noAutofit/>
        </a:bodyPr>
        <a:lstStyle/>
        <a:p>
          <a:pPr marL="114300" lvl="1" indent="-114300" algn="l" defTabSz="533400">
            <a:lnSpc>
              <a:spcPct val="90000"/>
            </a:lnSpc>
            <a:spcBef>
              <a:spcPct val="0"/>
            </a:spcBef>
            <a:spcAft>
              <a:spcPct val="15000"/>
            </a:spcAft>
            <a:buChar char="•"/>
          </a:pPr>
          <a:r>
            <a:rPr lang="en-IN" sz="1200" kern="1200" dirty="0"/>
            <a:t>Unit Cost</a:t>
          </a:r>
        </a:p>
        <a:p>
          <a:pPr marL="114300" lvl="1" indent="-114300" algn="l" defTabSz="533400">
            <a:lnSpc>
              <a:spcPct val="90000"/>
            </a:lnSpc>
            <a:spcBef>
              <a:spcPct val="0"/>
            </a:spcBef>
            <a:spcAft>
              <a:spcPct val="15000"/>
            </a:spcAft>
            <a:buChar char="•"/>
          </a:pPr>
          <a:r>
            <a:rPr lang="en-IN" sz="1200" kern="1200" dirty="0"/>
            <a:t>Lead Time</a:t>
          </a:r>
        </a:p>
        <a:p>
          <a:pPr marL="114300" lvl="1" indent="-114300" algn="l" defTabSz="533400">
            <a:lnSpc>
              <a:spcPct val="90000"/>
            </a:lnSpc>
            <a:spcBef>
              <a:spcPct val="0"/>
            </a:spcBef>
            <a:spcAft>
              <a:spcPct val="15000"/>
            </a:spcAft>
            <a:buChar char="•"/>
          </a:pPr>
          <a:r>
            <a:rPr lang="en-IN" sz="1200" kern="1200" dirty="0"/>
            <a:t>Shelf Life</a:t>
          </a:r>
        </a:p>
      </dsp:txBody>
      <dsp:txXfrm rot="10800000">
        <a:off x="3407898" y="1582901"/>
        <a:ext cx="2667093" cy="1582902"/>
      </dsp:txXfrm>
    </dsp:sp>
    <dsp:sp modelId="{2258C1B9-6CAD-4EDC-BC5F-8B2F925368BD}">
      <dsp:nvSpPr>
        <dsp:cNvPr id="0" name=""/>
        <dsp:cNvSpPr/>
      </dsp:nvSpPr>
      <dsp:spPr>
        <a:xfrm>
          <a:off x="666240" y="1582901"/>
          <a:ext cx="2750608" cy="1582902"/>
        </a:xfrm>
        <a:prstGeom prst="trapezoid">
          <a:avLst>
            <a:gd name="adj" fmla="val 43442"/>
          </a:avLst>
        </a:prstGeom>
        <a:solidFill>
          <a:schemeClr val="accent2">
            <a:hueOff val="3221807"/>
            <a:satOff val="-9246"/>
            <a:lumOff val="-14805"/>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bg1"/>
              </a:solidFill>
            </a:rPr>
            <a:t>Moderate</a:t>
          </a:r>
        </a:p>
        <a:p>
          <a:pPr marL="0" lvl="0" indent="0" algn="ctr" defTabSz="533400">
            <a:lnSpc>
              <a:spcPct val="90000"/>
            </a:lnSpc>
            <a:spcBef>
              <a:spcPct val="0"/>
            </a:spcBef>
            <a:spcAft>
              <a:spcPct val="35000"/>
            </a:spcAft>
            <a:buNone/>
          </a:pPr>
          <a:r>
            <a:rPr lang="en-IN" sz="1200" kern="1200" dirty="0">
              <a:solidFill>
                <a:schemeClr val="bg1"/>
              </a:solidFill>
            </a:rPr>
            <a:t>Priority</a:t>
          </a:r>
        </a:p>
      </dsp:txBody>
      <dsp:txXfrm>
        <a:off x="1147597" y="1582901"/>
        <a:ext cx="1787895" cy="1582902"/>
      </dsp:txXfrm>
    </dsp:sp>
    <dsp:sp modelId="{56F53C20-248D-45B1-900D-609AC6631F44}">
      <dsp:nvSpPr>
        <dsp:cNvPr id="0" name=""/>
        <dsp:cNvSpPr/>
      </dsp:nvSpPr>
      <dsp:spPr>
        <a:xfrm rot="10800000">
          <a:off x="3368092" y="3165803"/>
          <a:ext cx="2709372" cy="1582902"/>
        </a:xfrm>
        <a:prstGeom prst="nonIsoscelesTrapezoid">
          <a:avLst>
            <a:gd name="adj1" fmla="val 0"/>
            <a:gd name="adj2" fmla="val 43442"/>
          </a:avLst>
        </a:prstGeom>
        <a:solidFill>
          <a:schemeClr val="bg1">
            <a:lumMod val="85000"/>
            <a:alpha val="90000"/>
          </a:schemeClr>
        </a:solidFill>
        <a:ln w="19050" cap="flat" cmpd="sng" algn="ctr">
          <a:solidFill>
            <a:schemeClr val="accent2">
              <a:hueOff val="6443614"/>
              <a:satOff val="-18493"/>
              <a:lumOff val="-2960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247650" rIns="247650" bIns="247650" numCol="1" spcCol="1270" anchor="ctr" anchorCtr="0">
          <a:noAutofit/>
        </a:bodyPr>
        <a:lstStyle/>
        <a:p>
          <a:pPr marL="114300" lvl="1" indent="-114300" algn="l" defTabSz="533400">
            <a:lnSpc>
              <a:spcPct val="90000"/>
            </a:lnSpc>
            <a:spcBef>
              <a:spcPct val="0"/>
            </a:spcBef>
            <a:spcAft>
              <a:spcPct val="15000"/>
            </a:spcAft>
            <a:buChar char="•"/>
          </a:pPr>
          <a:r>
            <a:rPr lang="en-IN" sz="1200" kern="1200" dirty="0"/>
            <a:t>Subdivision</a:t>
          </a:r>
        </a:p>
        <a:p>
          <a:pPr marL="114300" lvl="1" indent="-114300" algn="l" defTabSz="533400">
            <a:lnSpc>
              <a:spcPct val="90000"/>
            </a:lnSpc>
            <a:spcBef>
              <a:spcPct val="0"/>
            </a:spcBef>
            <a:spcAft>
              <a:spcPct val="15000"/>
            </a:spcAft>
            <a:buChar char="•"/>
          </a:pPr>
          <a:r>
            <a:rPr lang="en-IN" sz="1200" kern="1200" dirty="0"/>
            <a:t>Lifecycle Phase</a:t>
          </a:r>
        </a:p>
        <a:p>
          <a:pPr marL="114300" lvl="1" indent="-114300" algn="l" defTabSz="533400">
            <a:lnSpc>
              <a:spcPct val="90000"/>
            </a:lnSpc>
            <a:spcBef>
              <a:spcPct val="0"/>
            </a:spcBef>
            <a:spcAft>
              <a:spcPct val="15000"/>
            </a:spcAft>
            <a:buChar char="•"/>
          </a:pPr>
          <a:endParaRPr lang="en-IN" sz="1200" kern="1200" dirty="0"/>
        </a:p>
      </dsp:txBody>
      <dsp:txXfrm rot="10800000">
        <a:off x="4088162" y="3165803"/>
        <a:ext cx="2000767" cy="1582902"/>
      </dsp:txXfrm>
    </dsp:sp>
    <dsp:sp modelId="{407BAC6E-DB42-47ED-B4B3-8C3DF3B5FA34}">
      <dsp:nvSpPr>
        <dsp:cNvPr id="0" name=""/>
        <dsp:cNvSpPr/>
      </dsp:nvSpPr>
      <dsp:spPr>
        <a:xfrm>
          <a:off x="-21411" y="3165803"/>
          <a:ext cx="4118360" cy="1582902"/>
        </a:xfrm>
        <a:prstGeom prst="trapezoid">
          <a:avLst>
            <a:gd name="adj" fmla="val 43442"/>
          </a:avLst>
        </a:prstGeom>
        <a:solidFill>
          <a:schemeClr val="accent2">
            <a:hueOff val="6443614"/>
            <a:satOff val="-18493"/>
            <a:lumOff val="-2960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bg1"/>
              </a:solidFill>
            </a:rPr>
            <a:t>Low</a:t>
          </a:r>
        </a:p>
        <a:p>
          <a:pPr marL="0" lvl="0" indent="0" algn="ctr" defTabSz="533400">
            <a:lnSpc>
              <a:spcPct val="90000"/>
            </a:lnSpc>
            <a:spcBef>
              <a:spcPct val="0"/>
            </a:spcBef>
            <a:spcAft>
              <a:spcPct val="35000"/>
            </a:spcAft>
            <a:buNone/>
          </a:pPr>
          <a:r>
            <a:rPr lang="en-IN" sz="1200" kern="1200" dirty="0">
              <a:solidFill>
                <a:schemeClr val="bg1"/>
              </a:solidFill>
            </a:rPr>
            <a:t>Priority</a:t>
          </a:r>
        </a:p>
      </dsp:txBody>
      <dsp:txXfrm>
        <a:off x="699301" y="3165803"/>
        <a:ext cx="2676934" cy="1582902"/>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F0A433-C107-4D50-A274-E72EDFAA666C}" type="datetimeFigureOut">
              <a:rPr lang="en-IN" smtClean="0"/>
              <a:t>08-11-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D2411B-283F-487C-AFF4-EF158FEF968B}" type="slidenum">
              <a:rPr lang="en-IN" smtClean="0"/>
              <a:t>‹#›</a:t>
            </a:fld>
            <a:endParaRPr lang="en-IN"/>
          </a:p>
        </p:txBody>
      </p:sp>
    </p:spTree>
    <p:extLst>
      <p:ext uri="{BB962C8B-B14F-4D97-AF65-F5344CB8AC3E}">
        <p14:creationId xmlns:p14="http://schemas.microsoft.com/office/powerpoint/2010/main" val="2211711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A3D2411B-283F-487C-AFF4-EF158FEF968B}" type="slidenum">
              <a:rPr lang="en-IN" smtClean="0"/>
              <a:t>4</a:t>
            </a:fld>
            <a:endParaRPr lang="en-IN"/>
          </a:p>
        </p:txBody>
      </p:sp>
    </p:spTree>
    <p:extLst>
      <p:ext uri="{BB962C8B-B14F-4D97-AF65-F5344CB8AC3E}">
        <p14:creationId xmlns:p14="http://schemas.microsoft.com/office/powerpoint/2010/main" val="9836191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813E8-A9F8-6591-E5D2-06183A08B17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DE7730CE-5318-8B68-5D30-7A355C6746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F88155BD-A4A2-9510-CCB5-946947C0565F}"/>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5" name="Footer Placeholder 4">
            <a:extLst>
              <a:ext uri="{FF2B5EF4-FFF2-40B4-BE49-F238E27FC236}">
                <a16:creationId xmlns:a16="http://schemas.microsoft.com/office/drawing/2014/main" id="{6047396D-0E65-C87E-16B3-519F1F1E54A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A18F86E-841E-EC7D-A760-6CBF0392C317}"/>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31464059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2F690-A1D9-0CA4-BB23-5A3011B2AA96}"/>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69943B05-7A31-A9B5-67A8-2AB38EE423A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D4CAFDC0-FE6E-39AA-7148-5820EB27CA62}"/>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5" name="Footer Placeholder 4">
            <a:extLst>
              <a:ext uri="{FF2B5EF4-FFF2-40B4-BE49-F238E27FC236}">
                <a16:creationId xmlns:a16="http://schemas.microsoft.com/office/drawing/2014/main" id="{8D088263-D19D-C646-EFB0-DE05360F9E3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5BA00116-8A0B-57E7-13FB-9CE827BAE981}"/>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1017615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63BA7D-0C96-0513-D1FE-C0B73C8CC19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E4D42B4E-7928-220B-BE12-AFEC0D36B86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CC6D6E5-FE72-FD73-C117-AA70682DB19D}"/>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5" name="Footer Placeholder 4">
            <a:extLst>
              <a:ext uri="{FF2B5EF4-FFF2-40B4-BE49-F238E27FC236}">
                <a16:creationId xmlns:a16="http://schemas.microsoft.com/office/drawing/2014/main" id="{A8A7D6D6-E823-A42C-119A-A9CD5F5CFF1E}"/>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14E6BA6-DD09-1C42-3B34-F41864EACFF7}"/>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20751815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F962D-477A-CAEF-5060-D9A4D7F4713F}"/>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9AA7D8A8-7979-68D7-2F73-A0212CE5106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D556E1E6-8034-73DC-0320-4EA76F9927B3}"/>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5" name="Footer Placeholder 4">
            <a:extLst>
              <a:ext uri="{FF2B5EF4-FFF2-40B4-BE49-F238E27FC236}">
                <a16:creationId xmlns:a16="http://schemas.microsoft.com/office/drawing/2014/main" id="{8914D426-5696-CC62-C805-807C71E19F2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B2755F8-76DE-B710-8845-2232B5EC38A9}"/>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226347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D8443-4021-09AA-7C24-41A9A6E80D3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8C16F842-A501-9ECD-792A-E8F51D6FCB5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0626A3-AA13-85CB-D641-E73132095CB8}"/>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5" name="Footer Placeholder 4">
            <a:extLst>
              <a:ext uri="{FF2B5EF4-FFF2-40B4-BE49-F238E27FC236}">
                <a16:creationId xmlns:a16="http://schemas.microsoft.com/office/drawing/2014/main" id="{0C68732E-8B50-A025-B231-57E14BBDFA0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478A3F06-3C8F-637B-7E02-67A2D50471B5}"/>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31028262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81D586-8242-BBBA-1AEF-31AA8309A7BD}"/>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A1A17351-D34E-FAD4-4949-2864ABADE3F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075862C8-811F-C34F-0979-4C534D5F8DD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10B47289-4F13-E9B2-1A94-349517D2770E}"/>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6" name="Footer Placeholder 5">
            <a:extLst>
              <a:ext uri="{FF2B5EF4-FFF2-40B4-BE49-F238E27FC236}">
                <a16:creationId xmlns:a16="http://schemas.microsoft.com/office/drawing/2014/main" id="{166A9BE2-ED79-8107-CF3F-4ED92B071DFA}"/>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57AB0037-2198-3B58-5183-201F5D19273C}"/>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26360863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0AE8D3-BF1D-814D-5BFF-02E1BF6B8E15}"/>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5D8AE1D6-B3C0-1F5E-FB18-2C02C657EC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1E2EA70-B12F-F625-A614-46F3E28226C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46A80AAE-E75E-0DEA-A70E-F9587984674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506C350-0FBD-24B1-4DBE-F37E5D467BA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C01EB47A-2847-7A0D-133C-68AC858F1D32}"/>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8" name="Footer Placeholder 7">
            <a:extLst>
              <a:ext uri="{FF2B5EF4-FFF2-40B4-BE49-F238E27FC236}">
                <a16:creationId xmlns:a16="http://schemas.microsoft.com/office/drawing/2014/main" id="{F4BD434C-F03C-55D6-B856-5895A62D3C82}"/>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ABF8D7DE-56B3-17DD-A6F1-14F7707C2029}"/>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18145746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44974-AA1C-A56E-0C45-FAC4F262E78D}"/>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E9C6D162-5963-0611-DFE2-E9D29FFDD01F}"/>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4" name="Footer Placeholder 3">
            <a:extLst>
              <a:ext uri="{FF2B5EF4-FFF2-40B4-BE49-F238E27FC236}">
                <a16:creationId xmlns:a16="http://schemas.microsoft.com/office/drawing/2014/main" id="{EA1A9AF1-544E-4105-DA7D-A9376093E889}"/>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1D1F6BC1-801E-B8F8-1531-C9194DED6526}"/>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41795050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8255916-8ACE-4B19-15EE-87E116C662CD}"/>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3" name="Footer Placeholder 2">
            <a:extLst>
              <a:ext uri="{FF2B5EF4-FFF2-40B4-BE49-F238E27FC236}">
                <a16:creationId xmlns:a16="http://schemas.microsoft.com/office/drawing/2014/main" id="{D0CEF836-3B78-D353-E46A-C7398ADB4BFF}"/>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69C5B8AD-4FC4-E94D-F6FB-CC378C20282C}"/>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31087104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05813-7A21-838D-1FA7-28344B51EAC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33651320-80FE-BDC0-212F-896EF84D8BB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689619F3-A1AB-F5D5-46AF-8372E8DDF3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D0004F1-14AF-490B-C7EE-74D91EF03814}"/>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6" name="Footer Placeholder 5">
            <a:extLst>
              <a:ext uri="{FF2B5EF4-FFF2-40B4-BE49-F238E27FC236}">
                <a16:creationId xmlns:a16="http://schemas.microsoft.com/office/drawing/2014/main" id="{F4BFE14A-EA52-C3AB-6238-01EC985C2C53}"/>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0CD398B6-676E-7B48-92B6-C4794123571F}"/>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20428649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3032C-A03A-6494-38B0-0FFF657B85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C12D1F44-0D06-E5B2-EBFB-AE0A7BF06A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C66AC303-F483-E1F9-52B4-5AF065E5B1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C3DDE9-704C-7C55-DA09-8AB57A2376AC}"/>
              </a:ext>
            </a:extLst>
          </p:cNvPr>
          <p:cNvSpPr>
            <a:spLocks noGrp="1"/>
          </p:cNvSpPr>
          <p:nvPr>
            <p:ph type="dt" sz="half" idx="10"/>
          </p:nvPr>
        </p:nvSpPr>
        <p:spPr/>
        <p:txBody>
          <a:bodyPr/>
          <a:lstStyle/>
          <a:p>
            <a:fld id="{7AB61501-A5F0-4EC5-BA5B-E6723C9EFA7D}" type="datetimeFigureOut">
              <a:rPr lang="en-IN" smtClean="0"/>
              <a:t>08-11-2024</a:t>
            </a:fld>
            <a:endParaRPr lang="en-IN"/>
          </a:p>
        </p:txBody>
      </p:sp>
      <p:sp>
        <p:nvSpPr>
          <p:cNvPr id="6" name="Footer Placeholder 5">
            <a:extLst>
              <a:ext uri="{FF2B5EF4-FFF2-40B4-BE49-F238E27FC236}">
                <a16:creationId xmlns:a16="http://schemas.microsoft.com/office/drawing/2014/main" id="{0C85074A-3740-0CA4-5A0C-DFEC233A6873}"/>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7C2C6DD-9983-F207-566D-8D3CC7D36489}"/>
              </a:ext>
            </a:extLst>
          </p:cNvPr>
          <p:cNvSpPr>
            <a:spLocks noGrp="1"/>
          </p:cNvSpPr>
          <p:nvPr>
            <p:ph type="sldNum" sz="quarter" idx="12"/>
          </p:nvPr>
        </p:nvSpPr>
        <p:spPr/>
        <p:txBody>
          <a:bodyPr/>
          <a:lstStyle/>
          <a:p>
            <a:fld id="{C7DA3027-AC4D-4E0F-949B-9E58AB203B68}" type="slidenum">
              <a:rPr lang="en-IN" smtClean="0"/>
              <a:t>‹#›</a:t>
            </a:fld>
            <a:endParaRPr lang="en-IN"/>
          </a:p>
        </p:txBody>
      </p:sp>
    </p:spTree>
    <p:extLst>
      <p:ext uri="{BB962C8B-B14F-4D97-AF65-F5344CB8AC3E}">
        <p14:creationId xmlns:p14="http://schemas.microsoft.com/office/powerpoint/2010/main" val="38603129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3C2ADDE-B1B4-340F-DBBA-CD4D89443EC4}"/>
              </a:ext>
            </a:extLst>
          </p:cNvPr>
          <p:cNvGraphicFramePr>
            <a:graphicFrameLocks noChangeAspect="1"/>
          </p:cNvGraphicFramePr>
          <p:nvPr userDrawn="1">
            <p:custDataLst>
              <p:tags r:id="rId13"/>
            </p:custDataLst>
            <p:extLst>
              <p:ext uri="{D42A27DB-BD31-4B8C-83A1-F6EECF244321}">
                <p14:modId xmlns:p14="http://schemas.microsoft.com/office/powerpoint/2010/main" val="2156176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1" imgH="425" progId="TCLayout.ActiveDocument.1">
                  <p:embed/>
                </p:oleObj>
              </mc:Choice>
              <mc:Fallback>
                <p:oleObj name="think-cell Slide" r:id="rId14" imgW="421" imgH="425" progId="TCLayout.ActiveDocument.1">
                  <p:embed/>
                  <p:pic>
                    <p:nvPicPr>
                      <p:cNvPr id="8" name="think-cell data - do not delete" hidden="1">
                        <a:extLst>
                          <a:ext uri="{FF2B5EF4-FFF2-40B4-BE49-F238E27FC236}">
                            <a16:creationId xmlns:a16="http://schemas.microsoft.com/office/drawing/2014/main" id="{E3C2ADDE-B1B4-340F-DBBA-CD4D89443EC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5C98B72-ED25-13DC-1EF6-E67CD9C456E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2A90FDB8-551C-836F-BE62-5FFF086FFD2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E13F22D7-2367-7F6C-8A78-FFC8E2EBA82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AB61501-A5F0-4EC5-BA5B-E6723C9EFA7D}" type="datetimeFigureOut">
              <a:rPr lang="en-IN" smtClean="0"/>
              <a:t>08-11-2024</a:t>
            </a:fld>
            <a:endParaRPr lang="en-IN"/>
          </a:p>
        </p:txBody>
      </p:sp>
      <p:sp>
        <p:nvSpPr>
          <p:cNvPr id="5" name="Footer Placeholder 4">
            <a:extLst>
              <a:ext uri="{FF2B5EF4-FFF2-40B4-BE49-F238E27FC236}">
                <a16:creationId xmlns:a16="http://schemas.microsoft.com/office/drawing/2014/main" id="{D0362A88-F90A-898B-F557-A9E6A3AD79A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N"/>
          </a:p>
        </p:txBody>
      </p:sp>
      <p:sp>
        <p:nvSpPr>
          <p:cNvPr id="6" name="Slide Number Placeholder 5">
            <a:extLst>
              <a:ext uri="{FF2B5EF4-FFF2-40B4-BE49-F238E27FC236}">
                <a16:creationId xmlns:a16="http://schemas.microsoft.com/office/drawing/2014/main" id="{2FC97ED3-5C0F-832E-39A6-E057965B92A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7DA3027-AC4D-4E0F-949B-9E58AB203B68}" type="slidenum">
              <a:rPr lang="en-IN" smtClean="0"/>
              <a:t>‹#›</a:t>
            </a:fld>
            <a:endParaRPr lang="en-IN"/>
          </a:p>
        </p:txBody>
      </p:sp>
    </p:spTree>
    <p:extLst>
      <p:ext uri="{BB962C8B-B14F-4D97-AF65-F5344CB8AC3E}">
        <p14:creationId xmlns:p14="http://schemas.microsoft.com/office/powerpoint/2010/main" val="39516599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36.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3.emf"/></Relationships>
</file>

<file path=ppt/slides/_rels/slide1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16.bin"/><Relationship Id="rId7"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emf"/><Relationship Id="rId9"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3.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3.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3.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3.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3.emf"/></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22.bin"/><Relationship Id="rId7" Type="http://schemas.openxmlformats.org/officeDocument/2006/relationships/diagramQuickStyle" Target="../diagrams/quickStyle2.xml"/><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3.emf"/><Relationship Id="rId9" Type="http://schemas.microsoft.com/office/2007/relationships/diagramDrawing" Target="../diagrams/drawing2.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3.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3.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3.emf"/></Relationships>
</file>

<file path=ppt/slides/_rels/slide2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oleObject" Target="../embeddings/oleObject26.bin"/><Relationship Id="rId7" Type="http://schemas.openxmlformats.org/officeDocument/2006/relationships/image" Target="../media/image51.pn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3.emf"/><Relationship Id="rId9" Type="http://schemas.openxmlformats.org/officeDocument/2006/relationships/image" Target="../media/image53.png"/></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oleObject" Target="../embeddings/oleObject28.bin"/><Relationship Id="rId7" Type="http://schemas.openxmlformats.org/officeDocument/2006/relationships/image" Target="../media/image56.png"/><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1.emf"/><Relationship Id="rId9" Type="http://schemas.openxmlformats.org/officeDocument/2006/relationships/image" Target="../media/image58.pn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59.png"/><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60.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61.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3.xml"/><Relationship Id="rId5" Type="http://schemas.openxmlformats.org/officeDocument/2006/relationships/image" Target="../media/image62.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1.emf"/><Relationship Id="rId10" Type="http://schemas.openxmlformats.org/officeDocument/2006/relationships/image" Target="../media/image9.png"/><Relationship Id="rId4" Type="http://schemas.openxmlformats.org/officeDocument/2006/relationships/oleObject" Target="../embeddings/oleObject5.bin"/><Relationship Id="rId9" Type="http://schemas.openxmlformats.org/officeDocument/2006/relationships/image" Target="../media/image8.pn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6.bin"/><Relationship Id="rId7"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emf"/><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oleObject" Target="../embeddings/oleObject7.bin"/><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emf"/><Relationship Id="rId9" Type="http://schemas.openxmlformats.org/officeDocument/2006/relationships/image" Target="../media/image22.png"/><Relationship Id="rId14" Type="http://schemas.openxmlformats.org/officeDocument/2006/relationships/image" Target="../media/image27.png"/></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8.bin"/><Relationship Id="rId7" Type="http://schemas.openxmlformats.org/officeDocument/2006/relationships/diagramQuickStyle" Target="../diagrams/quickStyle1.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emf"/><Relationship Id="rId9" Type="http://schemas.microsoft.com/office/2007/relationships/diagramDrawing" Target="../diagrams/drawing1.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D4C56C-307F-6795-EEF6-DD3D45A76300}"/>
              </a:ext>
            </a:extLst>
          </p:cNvPr>
          <p:cNvGraphicFramePr>
            <a:graphicFrameLocks noChangeAspect="1"/>
          </p:cNvGraphicFramePr>
          <p:nvPr>
            <p:custDataLst>
              <p:tags r:id="rId1"/>
            </p:custDataLst>
            <p:extLst>
              <p:ext uri="{D42A27DB-BD31-4B8C-83A1-F6EECF244321}">
                <p14:modId xmlns:p14="http://schemas.microsoft.com/office/powerpoint/2010/main" val="1795606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FDD4C56C-307F-6795-EEF6-DD3D45A76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42D6ACD-F109-A777-D583-DA75E2E23A58}"/>
              </a:ext>
            </a:extLst>
          </p:cNvPr>
          <p:cNvSpPr txBox="1"/>
          <p:nvPr/>
        </p:nvSpPr>
        <p:spPr>
          <a:xfrm>
            <a:off x="1936750" y="2328367"/>
            <a:ext cx="8629650" cy="1323439"/>
          </a:xfrm>
          <a:prstGeom prst="rect">
            <a:avLst/>
          </a:prstGeom>
          <a:noFill/>
        </p:spPr>
        <p:txBody>
          <a:bodyPr wrap="square">
            <a:spAutoFit/>
          </a:bodyPr>
          <a:lstStyle/>
          <a:p>
            <a:pPr algn="ctr"/>
            <a:r>
              <a:rPr lang="en-US" sz="4000" b="1" dirty="0">
                <a:solidFill>
                  <a:schemeClr val="accent1">
                    <a:lumMod val="50000"/>
                  </a:schemeClr>
                </a:solidFill>
                <a:latin typeface="+mj-lt"/>
              </a:rPr>
              <a:t>Build a POV for Root Cause Analysis of</a:t>
            </a:r>
          </a:p>
          <a:p>
            <a:pPr algn="ctr"/>
            <a:r>
              <a:rPr lang="en-US" sz="4000" b="1" dirty="0">
                <a:solidFill>
                  <a:schemeClr val="accent1">
                    <a:lumMod val="50000"/>
                  </a:schemeClr>
                </a:solidFill>
                <a:latin typeface="+mj-lt"/>
              </a:rPr>
              <a:t>Excess and Obsolete Inventory </a:t>
            </a:r>
            <a:endParaRPr lang="en-IN" sz="4000" b="1" dirty="0">
              <a:solidFill>
                <a:schemeClr val="accent1">
                  <a:lumMod val="50000"/>
                </a:schemeClr>
              </a:solidFill>
              <a:latin typeface="+mj-lt"/>
            </a:endParaRPr>
          </a:p>
        </p:txBody>
      </p:sp>
      <p:cxnSp>
        <p:nvCxnSpPr>
          <p:cNvPr id="8" name="Straight Connector 7">
            <a:extLst>
              <a:ext uri="{FF2B5EF4-FFF2-40B4-BE49-F238E27FC236}">
                <a16:creationId xmlns:a16="http://schemas.microsoft.com/office/drawing/2014/main" id="{9080B88E-7D47-338D-2772-6245EA9EC7E0}"/>
              </a:ext>
            </a:extLst>
          </p:cNvPr>
          <p:cNvCxnSpPr>
            <a:cxnSpLocks/>
          </p:cNvCxnSpPr>
          <p:nvPr/>
        </p:nvCxnSpPr>
        <p:spPr>
          <a:xfrm>
            <a:off x="1936750" y="2990087"/>
            <a:ext cx="8318500" cy="0"/>
          </a:xfrm>
          <a:prstGeom prst="line">
            <a:avLst/>
          </a:prstGeom>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C37D54FE-E77F-A4A9-983C-B42F44D05F98}"/>
              </a:ext>
            </a:extLst>
          </p:cNvPr>
          <p:cNvSpPr txBox="1"/>
          <p:nvPr/>
        </p:nvSpPr>
        <p:spPr>
          <a:xfrm>
            <a:off x="571500" y="5600700"/>
            <a:ext cx="4432300" cy="707886"/>
          </a:xfrm>
          <a:prstGeom prst="rect">
            <a:avLst/>
          </a:prstGeom>
          <a:noFill/>
        </p:spPr>
        <p:txBody>
          <a:bodyPr wrap="square" rtlCol="0">
            <a:spAutoFit/>
          </a:bodyPr>
          <a:lstStyle/>
          <a:p>
            <a:r>
              <a:rPr lang="en-IN" sz="2000" dirty="0"/>
              <a:t>Presented By: </a:t>
            </a:r>
            <a:r>
              <a:rPr lang="en-IN" sz="2000" b="1" dirty="0"/>
              <a:t>Varatharaj Kannan S</a:t>
            </a:r>
          </a:p>
          <a:p>
            <a:r>
              <a:rPr lang="en-IN" sz="2000" dirty="0"/>
              <a:t>Date: </a:t>
            </a:r>
            <a:r>
              <a:rPr lang="en-IN" sz="2000" b="1" dirty="0"/>
              <a:t>08-Nov-2024</a:t>
            </a:r>
          </a:p>
        </p:txBody>
      </p:sp>
    </p:spTree>
    <p:extLst>
      <p:ext uri="{BB962C8B-B14F-4D97-AF65-F5344CB8AC3E}">
        <p14:creationId xmlns:p14="http://schemas.microsoft.com/office/powerpoint/2010/main" val="28721216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E7AE139-A3A6-FE5D-89A2-D74D8B77F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8E7AE139-A3A6-FE5D-89A2-D74D8B77F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Box 16">
            <a:extLst>
              <a:ext uri="{FF2B5EF4-FFF2-40B4-BE49-F238E27FC236}">
                <a16:creationId xmlns:a16="http://schemas.microsoft.com/office/drawing/2014/main" id="{AEF9FBEB-4AB2-75A4-5B9A-A4EAFFBEA284}"/>
              </a:ext>
            </a:extLst>
          </p:cNvPr>
          <p:cNvSpPr txBox="1"/>
          <p:nvPr/>
        </p:nvSpPr>
        <p:spPr>
          <a:xfrm>
            <a:off x="-1" y="93018"/>
            <a:ext cx="12368463" cy="523220"/>
          </a:xfrm>
          <a:prstGeom prst="rect">
            <a:avLst/>
          </a:prstGeom>
          <a:noFill/>
        </p:spPr>
        <p:txBody>
          <a:bodyPr wrap="square" rtlCol="0">
            <a:spAutoFit/>
          </a:bodyPr>
          <a:lstStyle/>
          <a:p>
            <a:r>
              <a:rPr lang="en-US" sz="2800" b="1" dirty="0"/>
              <a:t>2.2 Summary and Key Insights from EDA (Visualizations)</a:t>
            </a:r>
          </a:p>
        </p:txBody>
      </p:sp>
      <p:cxnSp>
        <p:nvCxnSpPr>
          <p:cNvPr id="18" name="Straight Connector 17">
            <a:extLst>
              <a:ext uri="{FF2B5EF4-FFF2-40B4-BE49-F238E27FC236}">
                <a16:creationId xmlns:a16="http://schemas.microsoft.com/office/drawing/2014/main" id="{E70E4A21-DDF3-C13D-6FAB-839DA8CCFE4E}"/>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E136E667-E198-C072-5BDE-8AD683531FF3}"/>
              </a:ext>
            </a:extLst>
          </p:cNvPr>
          <p:cNvPicPr>
            <a:picLocks noChangeAspect="1"/>
          </p:cNvPicPr>
          <p:nvPr/>
        </p:nvPicPr>
        <p:blipFill>
          <a:blip r:embed="rId5"/>
          <a:stretch>
            <a:fillRect/>
          </a:stretch>
        </p:blipFill>
        <p:spPr>
          <a:xfrm>
            <a:off x="247651" y="771237"/>
            <a:ext cx="3141928" cy="1842917"/>
          </a:xfrm>
          <a:prstGeom prst="rect">
            <a:avLst/>
          </a:prstGeom>
        </p:spPr>
      </p:pic>
      <p:sp>
        <p:nvSpPr>
          <p:cNvPr id="6" name="TextBox 5">
            <a:extLst>
              <a:ext uri="{FF2B5EF4-FFF2-40B4-BE49-F238E27FC236}">
                <a16:creationId xmlns:a16="http://schemas.microsoft.com/office/drawing/2014/main" id="{7906338A-B27D-9AB2-360B-5E0956ECC883}"/>
              </a:ext>
            </a:extLst>
          </p:cNvPr>
          <p:cNvSpPr txBox="1"/>
          <p:nvPr/>
        </p:nvSpPr>
        <p:spPr>
          <a:xfrm>
            <a:off x="3657600" y="778769"/>
            <a:ext cx="8010525" cy="1815882"/>
          </a:xfrm>
          <a:prstGeom prst="rect">
            <a:avLst/>
          </a:prstGeom>
          <a:noFill/>
        </p:spPr>
        <p:txBody>
          <a:bodyPr wrap="square">
            <a:spAutoFit/>
          </a:bodyPr>
          <a:lstStyle/>
          <a:p>
            <a:pPr algn="just"/>
            <a:r>
              <a:rPr lang="en-US" sz="1600" b="1" dirty="0"/>
              <a:t>Demand Fluctuation by Subdivision</a:t>
            </a:r>
          </a:p>
          <a:p>
            <a:pPr marL="285750" indent="-285750" algn="just">
              <a:buFont typeface="Arial" panose="020B0604020202020204" pitchFamily="34" charset="0"/>
              <a:buChar char="•"/>
            </a:pPr>
            <a:r>
              <a:rPr lang="en-US" sz="1600" b="1" dirty="0"/>
              <a:t>Insight</a:t>
            </a:r>
            <a:r>
              <a:rPr lang="en-US" sz="1600" dirty="0"/>
              <a:t>: Demand fluctuation varies significantly across subdivisions, with Industrial Gases showing the highest median fluctuation, followed closely by Specialty Chemicals.</a:t>
            </a:r>
          </a:p>
          <a:p>
            <a:pPr marL="285750" indent="-285750" algn="just">
              <a:buFont typeface="Arial" panose="020B0604020202020204" pitchFamily="34" charset="0"/>
              <a:buChar char="•"/>
            </a:pPr>
            <a:r>
              <a:rPr lang="en-US" sz="1600" b="1" dirty="0"/>
              <a:t>Implication</a:t>
            </a:r>
            <a:r>
              <a:rPr lang="en-US" sz="1600" dirty="0"/>
              <a:t>: High variability suggests forecasting and inventory challenges. Subdivisions with greater fluctuations may require more adaptive inventory management strategies to mitigate the risk of excess and stockouts.</a:t>
            </a:r>
            <a:endParaRPr lang="en-IN" sz="1600" dirty="0"/>
          </a:p>
        </p:txBody>
      </p:sp>
      <p:pic>
        <p:nvPicPr>
          <p:cNvPr id="9" name="Picture 8">
            <a:extLst>
              <a:ext uri="{FF2B5EF4-FFF2-40B4-BE49-F238E27FC236}">
                <a16:creationId xmlns:a16="http://schemas.microsoft.com/office/drawing/2014/main" id="{876D96D8-218A-AA43-4F71-3D20B92F2371}"/>
              </a:ext>
            </a:extLst>
          </p:cNvPr>
          <p:cNvPicPr>
            <a:picLocks noChangeAspect="1"/>
          </p:cNvPicPr>
          <p:nvPr/>
        </p:nvPicPr>
        <p:blipFill>
          <a:blip r:embed="rId6"/>
          <a:stretch>
            <a:fillRect/>
          </a:stretch>
        </p:blipFill>
        <p:spPr>
          <a:xfrm>
            <a:off x="247651" y="2740467"/>
            <a:ext cx="3141928" cy="1880808"/>
          </a:xfrm>
          <a:prstGeom prst="rect">
            <a:avLst/>
          </a:prstGeom>
        </p:spPr>
      </p:pic>
      <p:sp>
        <p:nvSpPr>
          <p:cNvPr id="13" name="TextBox 12">
            <a:extLst>
              <a:ext uri="{FF2B5EF4-FFF2-40B4-BE49-F238E27FC236}">
                <a16:creationId xmlns:a16="http://schemas.microsoft.com/office/drawing/2014/main" id="{B1F32F41-BFF3-46B6-1732-CD814901C1B1}"/>
              </a:ext>
            </a:extLst>
          </p:cNvPr>
          <p:cNvSpPr txBox="1"/>
          <p:nvPr/>
        </p:nvSpPr>
        <p:spPr>
          <a:xfrm>
            <a:off x="3657600" y="2725721"/>
            <a:ext cx="8010525" cy="1815882"/>
          </a:xfrm>
          <a:prstGeom prst="rect">
            <a:avLst/>
          </a:prstGeom>
          <a:noFill/>
        </p:spPr>
        <p:txBody>
          <a:bodyPr wrap="square">
            <a:spAutoFit/>
          </a:bodyPr>
          <a:lstStyle/>
          <a:p>
            <a:pPr algn="just"/>
            <a:r>
              <a:rPr lang="en-US" sz="1600" b="1" dirty="0"/>
              <a:t>Forecast Accuracy Distribution</a:t>
            </a:r>
          </a:p>
          <a:p>
            <a:pPr marL="285750" indent="-285750" algn="just">
              <a:buFont typeface="Arial" panose="020B0604020202020204" pitchFamily="34" charset="0"/>
              <a:buChar char="•"/>
            </a:pPr>
            <a:r>
              <a:rPr lang="en-US" sz="1600" b="1" dirty="0"/>
              <a:t>Insight</a:t>
            </a:r>
            <a:r>
              <a:rPr lang="en-US" sz="1600" dirty="0"/>
              <a:t>: Forecast accuracy is generally high, with most values close to 1.0, indicating good overall prediction accuracy. However, there are some SKUs with lower accuracy, suggesting potential issues.</a:t>
            </a:r>
          </a:p>
          <a:p>
            <a:pPr marL="285750" indent="-285750" algn="just">
              <a:buFont typeface="Arial" panose="020B0604020202020204" pitchFamily="34" charset="0"/>
              <a:buChar char="•"/>
            </a:pPr>
            <a:r>
              <a:rPr lang="en-US" sz="1600" b="1" dirty="0"/>
              <a:t>Implication</a:t>
            </a:r>
            <a:r>
              <a:rPr lang="en-US" sz="1600" dirty="0"/>
              <a:t>: The lower forecast accuracy for specific SKUs could lead to either overstocking or stockouts. Focused improvements in forecasting models or techniques for SKUs with low accuracy could help in optimizing inventory levels.</a:t>
            </a:r>
            <a:endParaRPr lang="en-IN" sz="1600" dirty="0"/>
          </a:p>
        </p:txBody>
      </p:sp>
      <p:pic>
        <p:nvPicPr>
          <p:cNvPr id="19" name="Picture 18">
            <a:extLst>
              <a:ext uri="{FF2B5EF4-FFF2-40B4-BE49-F238E27FC236}">
                <a16:creationId xmlns:a16="http://schemas.microsoft.com/office/drawing/2014/main" id="{B4D50B93-EF2A-0FBA-FA67-B8710B71E01E}"/>
              </a:ext>
            </a:extLst>
          </p:cNvPr>
          <p:cNvPicPr>
            <a:picLocks noChangeAspect="1"/>
          </p:cNvPicPr>
          <p:nvPr/>
        </p:nvPicPr>
        <p:blipFill>
          <a:blip r:embed="rId7"/>
          <a:stretch>
            <a:fillRect/>
          </a:stretch>
        </p:blipFill>
        <p:spPr>
          <a:xfrm>
            <a:off x="247651" y="4814263"/>
            <a:ext cx="3141928" cy="1890941"/>
          </a:xfrm>
          <a:prstGeom prst="rect">
            <a:avLst/>
          </a:prstGeom>
        </p:spPr>
      </p:pic>
      <p:sp>
        <p:nvSpPr>
          <p:cNvPr id="21" name="TextBox 20">
            <a:extLst>
              <a:ext uri="{FF2B5EF4-FFF2-40B4-BE49-F238E27FC236}">
                <a16:creationId xmlns:a16="http://schemas.microsoft.com/office/drawing/2014/main" id="{06E666DB-CA9F-F71E-883C-633385123FCA}"/>
              </a:ext>
            </a:extLst>
          </p:cNvPr>
          <p:cNvSpPr txBox="1"/>
          <p:nvPr/>
        </p:nvSpPr>
        <p:spPr>
          <a:xfrm>
            <a:off x="3657600" y="4883051"/>
            <a:ext cx="8010525" cy="1569660"/>
          </a:xfrm>
          <a:prstGeom prst="rect">
            <a:avLst/>
          </a:prstGeom>
          <a:noFill/>
        </p:spPr>
        <p:txBody>
          <a:bodyPr wrap="square">
            <a:spAutoFit/>
          </a:bodyPr>
          <a:lstStyle/>
          <a:p>
            <a:r>
              <a:rPr lang="en-US" sz="1600" b="1" dirty="0"/>
              <a:t>Seasonality in Agrochemicals</a:t>
            </a:r>
          </a:p>
          <a:p>
            <a:pPr marL="285750" indent="-285750">
              <a:buFont typeface="Arial" panose="020B0604020202020204" pitchFamily="34" charset="0"/>
              <a:buChar char="•"/>
            </a:pPr>
            <a:r>
              <a:rPr lang="en-US" sz="1600" b="1" dirty="0"/>
              <a:t>Insight</a:t>
            </a:r>
            <a:r>
              <a:rPr lang="en-US" sz="1600" dirty="0"/>
              <a:t>: Demand for Agrochemicals shows clear seasonality, with notable peaks in June and September and drops in August and December.</a:t>
            </a:r>
          </a:p>
          <a:p>
            <a:pPr marL="285750" indent="-285750">
              <a:buFont typeface="Arial" panose="020B0604020202020204" pitchFamily="34" charset="0"/>
              <a:buChar char="•"/>
            </a:pPr>
            <a:r>
              <a:rPr lang="en-US" sz="1600" b="1" dirty="0"/>
              <a:t>Implication</a:t>
            </a:r>
            <a:r>
              <a:rPr lang="en-US" sz="1600" dirty="0"/>
              <a:t>: This seasonal trend suggests that inventory levels should be adjusted throughout the year, increasing before peak months and reducing during lower-demand months to prevent excess stock and ensure availability.</a:t>
            </a:r>
            <a:endParaRPr lang="en-IN" sz="1600" dirty="0"/>
          </a:p>
        </p:txBody>
      </p:sp>
    </p:spTree>
    <p:extLst>
      <p:ext uri="{BB962C8B-B14F-4D97-AF65-F5344CB8AC3E}">
        <p14:creationId xmlns:p14="http://schemas.microsoft.com/office/powerpoint/2010/main" val="22088025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E7AE139-A3A6-FE5D-89A2-D74D8B77FD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8E7AE139-A3A6-FE5D-89A2-D74D8B77F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4A9D310D-D907-08AE-56CE-A5FDD16C31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6440" y="704563"/>
            <a:ext cx="3530771" cy="3060000"/>
          </a:xfrm>
          <a:prstGeom prst="rect">
            <a:avLst/>
          </a:prstGeom>
        </p:spPr>
      </p:pic>
      <p:pic>
        <p:nvPicPr>
          <p:cNvPr id="12" name="Picture 11">
            <a:extLst>
              <a:ext uri="{FF2B5EF4-FFF2-40B4-BE49-F238E27FC236}">
                <a16:creationId xmlns:a16="http://schemas.microsoft.com/office/drawing/2014/main" id="{A35CBDBD-7787-C6AA-C42D-55135727F3E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42909" y="936690"/>
            <a:ext cx="3435790" cy="3060000"/>
          </a:xfrm>
          <a:prstGeom prst="rect">
            <a:avLst/>
          </a:prstGeom>
        </p:spPr>
      </p:pic>
      <p:pic>
        <p:nvPicPr>
          <p:cNvPr id="16" name="Picture 15">
            <a:extLst>
              <a:ext uri="{FF2B5EF4-FFF2-40B4-BE49-F238E27FC236}">
                <a16:creationId xmlns:a16="http://schemas.microsoft.com/office/drawing/2014/main" id="{5C893772-E922-ADE8-A59C-1E2641CFD4B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78397" y="803340"/>
            <a:ext cx="3772605" cy="3060000"/>
          </a:xfrm>
          <a:prstGeom prst="rect">
            <a:avLst/>
          </a:prstGeom>
        </p:spPr>
      </p:pic>
      <p:sp>
        <p:nvSpPr>
          <p:cNvPr id="17" name="TextBox 16">
            <a:extLst>
              <a:ext uri="{FF2B5EF4-FFF2-40B4-BE49-F238E27FC236}">
                <a16:creationId xmlns:a16="http://schemas.microsoft.com/office/drawing/2014/main" id="{AEF9FBEB-4AB2-75A4-5B9A-A4EAFFBEA284}"/>
              </a:ext>
            </a:extLst>
          </p:cNvPr>
          <p:cNvSpPr txBox="1"/>
          <p:nvPr/>
        </p:nvSpPr>
        <p:spPr>
          <a:xfrm>
            <a:off x="-1" y="93018"/>
            <a:ext cx="12368463" cy="523220"/>
          </a:xfrm>
          <a:prstGeom prst="rect">
            <a:avLst/>
          </a:prstGeom>
          <a:noFill/>
        </p:spPr>
        <p:txBody>
          <a:bodyPr wrap="square" rtlCol="0">
            <a:spAutoFit/>
          </a:bodyPr>
          <a:lstStyle/>
          <a:p>
            <a:r>
              <a:rPr lang="en-US" sz="2800" b="1" dirty="0"/>
              <a:t>2.2 Supporting Viz. from EDA (Others)</a:t>
            </a:r>
          </a:p>
        </p:txBody>
      </p:sp>
      <p:cxnSp>
        <p:nvCxnSpPr>
          <p:cNvPr id="18" name="Straight Connector 17">
            <a:extLst>
              <a:ext uri="{FF2B5EF4-FFF2-40B4-BE49-F238E27FC236}">
                <a16:creationId xmlns:a16="http://schemas.microsoft.com/office/drawing/2014/main" id="{E70E4A21-DDF3-C13D-6FAB-839DA8CCFE4E}"/>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624223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47F5DB-9EB5-8D33-6BC5-B8B32425FA1D}"/>
              </a:ext>
            </a:extLst>
          </p:cNvPr>
          <p:cNvGraphicFramePr>
            <a:graphicFrameLocks noChangeAspect="1"/>
          </p:cNvGraphicFramePr>
          <p:nvPr>
            <p:custDataLst>
              <p:tags r:id="rId1"/>
            </p:custDataLst>
            <p:extLst>
              <p:ext uri="{D42A27DB-BD31-4B8C-83A1-F6EECF244321}">
                <p14:modId xmlns:p14="http://schemas.microsoft.com/office/powerpoint/2010/main" val="2346715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1247F5DB-9EB5-8D33-6BC5-B8B32425FA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293F44E3-2106-333F-4BAE-35B9FC571BED}"/>
              </a:ext>
            </a:extLst>
          </p:cNvPr>
          <p:cNvSpPr txBox="1"/>
          <p:nvPr/>
        </p:nvSpPr>
        <p:spPr>
          <a:xfrm>
            <a:off x="-1" y="93018"/>
            <a:ext cx="12368463" cy="523220"/>
          </a:xfrm>
          <a:prstGeom prst="rect">
            <a:avLst/>
          </a:prstGeom>
          <a:noFill/>
        </p:spPr>
        <p:txBody>
          <a:bodyPr wrap="square" rtlCol="0">
            <a:spAutoFit/>
          </a:bodyPr>
          <a:lstStyle/>
          <a:p>
            <a:r>
              <a:rPr lang="en-US" sz="2800" b="1" dirty="0"/>
              <a:t>2.3 Demand Pattern summary by Subdivision</a:t>
            </a:r>
          </a:p>
        </p:txBody>
      </p:sp>
      <p:cxnSp>
        <p:nvCxnSpPr>
          <p:cNvPr id="6" name="Straight Connector 5">
            <a:extLst>
              <a:ext uri="{FF2B5EF4-FFF2-40B4-BE49-F238E27FC236}">
                <a16:creationId xmlns:a16="http://schemas.microsoft.com/office/drawing/2014/main" id="{DD0D41B3-F9B9-6BC3-7792-1451DBAEF85A}"/>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3952702E-9615-E3DF-29AA-C7AE9E9BE911}"/>
              </a:ext>
            </a:extLst>
          </p:cNvPr>
          <p:cNvPicPr>
            <a:picLocks noChangeAspect="1"/>
          </p:cNvPicPr>
          <p:nvPr/>
        </p:nvPicPr>
        <p:blipFill>
          <a:blip r:embed="rId5"/>
          <a:stretch>
            <a:fillRect/>
          </a:stretch>
        </p:blipFill>
        <p:spPr>
          <a:xfrm>
            <a:off x="5057775" y="1383002"/>
            <a:ext cx="6838946" cy="4091993"/>
          </a:xfrm>
          <a:prstGeom prst="rect">
            <a:avLst/>
          </a:prstGeom>
        </p:spPr>
      </p:pic>
      <p:sp>
        <p:nvSpPr>
          <p:cNvPr id="10" name="TextBox 9">
            <a:extLst>
              <a:ext uri="{FF2B5EF4-FFF2-40B4-BE49-F238E27FC236}">
                <a16:creationId xmlns:a16="http://schemas.microsoft.com/office/drawing/2014/main" id="{13F0C63D-7878-444E-E588-FA0EDD6DB2E5}"/>
              </a:ext>
            </a:extLst>
          </p:cNvPr>
          <p:cNvSpPr txBox="1"/>
          <p:nvPr/>
        </p:nvSpPr>
        <p:spPr>
          <a:xfrm>
            <a:off x="114301" y="1166842"/>
            <a:ext cx="4819650" cy="4524315"/>
          </a:xfrm>
          <a:prstGeom prst="rect">
            <a:avLst/>
          </a:prstGeom>
          <a:noFill/>
        </p:spPr>
        <p:txBody>
          <a:bodyPr wrap="square">
            <a:spAutoFit/>
          </a:bodyPr>
          <a:lstStyle/>
          <a:p>
            <a:pPr marL="285750" indent="-285750" algn="just">
              <a:buFont typeface="Arial" panose="020B0604020202020204" pitchFamily="34" charset="0"/>
              <a:buChar char="•"/>
            </a:pPr>
            <a:r>
              <a:rPr lang="en-US" sz="1600" b="1" dirty="0"/>
              <a:t>Agrochemicals</a:t>
            </a:r>
            <a:r>
              <a:rPr lang="en-US" sz="1600" dirty="0"/>
              <a:t>: Noticeable peaks in June and September; dips in August and December, suggesting need for </a:t>
            </a:r>
            <a:r>
              <a:rPr lang="en-US" sz="1600" dirty="0">
                <a:highlight>
                  <a:srgbClr val="FFFF00"/>
                </a:highlight>
              </a:rPr>
              <a:t>proactive stock management.</a:t>
            </a:r>
          </a:p>
          <a:p>
            <a:pPr marL="285750" indent="-285750" algn="just">
              <a:buFont typeface="Arial" panose="020B0604020202020204" pitchFamily="34" charset="0"/>
              <a:buChar char="•"/>
            </a:pPr>
            <a:endParaRPr lang="en-US" sz="1600" dirty="0">
              <a:highlight>
                <a:srgbClr val="FFFF00"/>
              </a:highlight>
            </a:endParaRPr>
          </a:p>
          <a:p>
            <a:pPr marL="285750" indent="-285750" algn="just">
              <a:buFont typeface="Arial" panose="020B0604020202020204" pitchFamily="34" charset="0"/>
              <a:buChar char="•"/>
            </a:pPr>
            <a:r>
              <a:rPr lang="en-US" sz="1600" b="1" dirty="0"/>
              <a:t>Industrial</a:t>
            </a:r>
            <a:r>
              <a:rPr lang="en-US" sz="1600" dirty="0"/>
              <a:t> </a:t>
            </a:r>
            <a:r>
              <a:rPr lang="en-US" sz="1600" b="1" dirty="0"/>
              <a:t>Gases</a:t>
            </a:r>
            <a:r>
              <a:rPr lang="en-US" sz="1600" dirty="0"/>
              <a:t>: Peaks in mid-year (June-July) and at year-end, requiring </a:t>
            </a:r>
            <a:r>
              <a:rPr lang="en-US" sz="1600" dirty="0">
                <a:highlight>
                  <a:srgbClr val="FFFF00"/>
                </a:highlight>
              </a:rPr>
              <a:t>flexible inventory strategies.</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b="1" dirty="0"/>
              <a:t>Petrochemicals</a:t>
            </a:r>
            <a:r>
              <a:rPr lang="en-US" sz="1600" dirty="0"/>
              <a:t>: Multiple peaks throughout the year; </a:t>
            </a:r>
            <a:r>
              <a:rPr lang="en-US" sz="1600" dirty="0">
                <a:highlight>
                  <a:srgbClr val="FFFF00"/>
                </a:highlight>
              </a:rPr>
              <a:t>agile supply chain adjustments </a:t>
            </a:r>
            <a:r>
              <a:rPr lang="en-US" sz="1600" dirty="0"/>
              <a:t>recommended.</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b="1" dirty="0"/>
              <a:t>Pharmaceuticals</a:t>
            </a:r>
            <a:r>
              <a:rPr lang="en-US" sz="1600" dirty="0"/>
              <a:t>: Stable demand with slight fluctuations, ideal for </a:t>
            </a:r>
            <a:r>
              <a:rPr lang="en-US" sz="1600" dirty="0">
                <a:highlight>
                  <a:srgbClr val="FFFF00"/>
                </a:highlight>
              </a:rPr>
              <a:t>planned buffer stocks</a:t>
            </a:r>
            <a:r>
              <a:rPr lang="en-US" sz="1600" dirty="0"/>
              <a:t>.</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b="1" dirty="0"/>
              <a:t>Specialty</a:t>
            </a:r>
            <a:r>
              <a:rPr lang="en-US" sz="1600" dirty="0"/>
              <a:t> </a:t>
            </a:r>
            <a:r>
              <a:rPr lang="en-US" sz="1600" b="1" dirty="0"/>
              <a:t>Chemicals</a:t>
            </a:r>
            <a:r>
              <a:rPr lang="en-US" sz="1600" dirty="0"/>
              <a:t>: Irregular peaks, indicating a need for </a:t>
            </a:r>
            <a:r>
              <a:rPr lang="en-US" sz="1600" dirty="0">
                <a:highlight>
                  <a:srgbClr val="FFFF00"/>
                </a:highlight>
              </a:rPr>
              <a:t>careful monitoring </a:t>
            </a:r>
            <a:r>
              <a:rPr lang="en-US" sz="1600" dirty="0"/>
              <a:t>and adaptable stock policies.</a:t>
            </a:r>
            <a:endParaRPr lang="en-IN" sz="1600" dirty="0"/>
          </a:p>
        </p:txBody>
      </p:sp>
    </p:spTree>
    <p:extLst>
      <p:ext uri="{BB962C8B-B14F-4D97-AF65-F5344CB8AC3E}">
        <p14:creationId xmlns:p14="http://schemas.microsoft.com/office/powerpoint/2010/main" val="4966528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02ACAF78-3890-49D9-41C9-8E54981FB6BA}"/>
              </a:ext>
            </a:extLst>
          </p:cNvPr>
          <p:cNvSpPr txBox="1"/>
          <p:nvPr/>
        </p:nvSpPr>
        <p:spPr>
          <a:xfrm>
            <a:off x="2095500" y="2875002"/>
            <a:ext cx="8001000" cy="553998"/>
          </a:xfrm>
          <a:prstGeom prst="rect">
            <a:avLst/>
          </a:prstGeom>
          <a:noFill/>
        </p:spPr>
        <p:txBody>
          <a:bodyPr wrap="square">
            <a:spAutoFit/>
          </a:bodyPr>
          <a:lstStyle/>
          <a:p>
            <a:pPr algn="ctr"/>
            <a:r>
              <a:rPr lang="en-US" sz="3000" b="1" dirty="0"/>
              <a:t>Causal Modeling and Root Cause Analysis</a:t>
            </a:r>
            <a:endParaRPr lang="en-IN" sz="3000" b="1" dirty="0"/>
          </a:p>
        </p:txBody>
      </p:sp>
      <p:pic>
        <p:nvPicPr>
          <p:cNvPr id="5122" name="Picture 2" descr="Flowchart icon">
            <a:extLst>
              <a:ext uri="{FF2B5EF4-FFF2-40B4-BE49-F238E27FC236}">
                <a16:creationId xmlns:a16="http://schemas.microsoft.com/office/drawing/2014/main" id="{E7363637-7FF8-3A93-9588-04AB798428D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00375" y="957351"/>
            <a:ext cx="1590675" cy="1590675"/>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Root cause icon">
            <a:extLst>
              <a:ext uri="{FF2B5EF4-FFF2-40B4-BE49-F238E27FC236}">
                <a16:creationId xmlns:a16="http://schemas.microsoft.com/office/drawing/2014/main" id="{8CE1C30A-BD89-7B86-7237-BD9C029C68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29550" y="4029075"/>
            <a:ext cx="1485900" cy="1485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49906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C72F454-9879-0A53-62D7-30415546D668}"/>
              </a:ext>
            </a:extLst>
          </p:cNvPr>
          <p:cNvSpPr txBox="1"/>
          <p:nvPr/>
        </p:nvSpPr>
        <p:spPr>
          <a:xfrm>
            <a:off x="-1" y="93018"/>
            <a:ext cx="12368463" cy="523220"/>
          </a:xfrm>
          <a:prstGeom prst="rect">
            <a:avLst/>
          </a:prstGeom>
          <a:noFill/>
        </p:spPr>
        <p:txBody>
          <a:bodyPr wrap="square" rtlCol="0">
            <a:spAutoFit/>
          </a:bodyPr>
          <a:lstStyle/>
          <a:p>
            <a:r>
              <a:rPr lang="en-US" sz="2800" b="1" dirty="0"/>
              <a:t>3.1 Define the Target Variable and Key Features</a:t>
            </a:r>
          </a:p>
        </p:txBody>
      </p:sp>
      <p:cxnSp>
        <p:nvCxnSpPr>
          <p:cNvPr id="3" name="Straight Connector 2">
            <a:extLst>
              <a:ext uri="{FF2B5EF4-FFF2-40B4-BE49-F238E27FC236}">
                <a16:creationId xmlns:a16="http://schemas.microsoft.com/office/drawing/2014/main" id="{E125CFD9-EC81-DA5A-BD69-0853CA046E36}"/>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E316BF26-46D1-685E-A3DD-06228762E26C}"/>
              </a:ext>
            </a:extLst>
          </p:cNvPr>
          <p:cNvSpPr txBox="1"/>
          <p:nvPr/>
        </p:nvSpPr>
        <p:spPr>
          <a:xfrm>
            <a:off x="214312" y="842993"/>
            <a:ext cx="11763375" cy="5453865"/>
          </a:xfrm>
          <a:prstGeom prst="rect">
            <a:avLst/>
          </a:prstGeom>
          <a:noFill/>
        </p:spPr>
        <p:txBody>
          <a:bodyPr wrap="square">
            <a:spAutoFit/>
          </a:bodyPr>
          <a:lstStyle/>
          <a:p>
            <a:pPr marL="342900" indent="-342900" algn="just">
              <a:lnSpc>
                <a:spcPct val="150000"/>
              </a:lnSpc>
              <a:buFont typeface="+mj-lt"/>
              <a:buAutoNum type="arabicPeriod"/>
            </a:pPr>
            <a:r>
              <a:rPr lang="en-US" b="1" dirty="0"/>
              <a:t>Target Variable (2):</a:t>
            </a:r>
          </a:p>
          <a:p>
            <a:pPr marL="742950" lvl="1" indent="-285750" algn="just">
              <a:lnSpc>
                <a:spcPct val="150000"/>
              </a:lnSpc>
              <a:buFont typeface="Arial" panose="020B0604020202020204" pitchFamily="34" charset="0"/>
              <a:buChar char="•"/>
            </a:pPr>
            <a:r>
              <a:rPr lang="en-US" b="1" dirty="0"/>
              <a:t>Excess_Stock: </a:t>
            </a:r>
            <a:r>
              <a:rPr lang="en-US" dirty="0"/>
              <a:t>If the focus is on understanding drivers of overstock.</a:t>
            </a:r>
          </a:p>
          <a:p>
            <a:pPr marL="742950" lvl="1" indent="-285750" algn="just">
              <a:lnSpc>
                <a:spcPct val="150000"/>
              </a:lnSpc>
              <a:buFont typeface="Arial" panose="020B0604020202020204" pitchFamily="34" charset="0"/>
              <a:buChar char="•"/>
            </a:pPr>
            <a:r>
              <a:rPr lang="en-US" b="1" dirty="0"/>
              <a:t>Obsolete_Inventory_Value: </a:t>
            </a:r>
            <a:r>
              <a:rPr lang="en-US" dirty="0"/>
              <a:t>If the focus is on identifying factors that lead to obsolete or unsellable inventory.</a:t>
            </a:r>
          </a:p>
          <a:p>
            <a:pPr marL="342900" indent="-342900" algn="just">
              <a:lnSpc>
                <a:spcPct val="150000"/>
              </a:lnSpc>
              <a:buFont typeface="+mj-lt"/>
              <a:buAutoNum type="arabicPeriod"/>
            </a:pPr>
            <a:r>
              <a:rPr lang="en-US" b="1" dirty="0"/>
              <a:t>Key Features (7):</a:t>
            </a:r>
          </a:p>
          <a:p>
            <a:pPr marL="800100" lvl="1" indent="-342900" algn="just">
              <a:lnSpc>
                <a:spcPct val="150000"/>
              </a:lnSpc>
              <a:buFont typeface="Arial" panose="020B0604020202020204" pitchFamily="34" charset="0"/>
              <a:buChar char="•"/>
            </a:pPr>
            <a:r>
              <a:rPr lang="en-US" b="1" dirty="0"/>
              <a:t>Forecast Accuracy: </a:t>
            </a:r>
            <a:r>
              <a:rPr lang="en-US" dirty="0"/>
              <a:t>Lower accuracy could lead to excess.</a:t>
            </a:r>
          </a:p>
          <a:p>
            <a:pPr marL="800100" lvl="1" indent="-342900" algn="just">
              <a:lnSpc>
                <a:spcPct val="150000"/>
              </a:lnSpc>
              <a:buFont typeface="Arial" panose="020B0604020202020204" pitchFamily="34" charset="0"/>
              <a:buChar char="•"/>
            </a:pPr>
            <a:r>
              <a:rPr lang="en-US" b="1" dirty="0"/>
              <a:t>Demand Fluctuation: </a:t>
            </a:r>
            <a:r>
              <a:rPr lang="en-US" dirty="0"/>
              <a:t>High variability may indicate volatility and unpredictability.</a:t>
            </a:r>
          </a:p>
          <a:p>
            <a:pPr marL="800100" lvl="1" indent="-342900" algn="just">
              <a:lnSpc>
                <a:spcPct val="150000"/>
              </a:lnSpc>
              <a:buFont typeface="Arial" panose="020B0604020202020204" pitchFamily="34" charset="0"/>
              <a:buChar char="•"/>
            </a:pPr>
            <a:r>
              <a:rPr lang="en-US" b="1" dirty="0"/>
              <a:t>Lead Time and Lead Time Variability</a:t>
            </a:r>
            <a:r>
              <a:rPr lang="en-US" dirty="0"/>
              <a:t>: Longer and more inconsistent lead times require higher safety stock, increasing excess.</a:t>
            </a:r>
          </a:p>
          <a:p>
            <a:pPr marL="800100" lvl="1" indent="-342900" algn="just">
              <a:lnSpc>
                <a:spcPct val="150000"/>
              </a:lnSpc>
              <a:buFont typeface="Arial" panose="020B0604020202020204" pitchFamily="34" charset="0"/>
              <a:buChar char="•"/>
            </a:pPr>
            <a:r>
              <a:rPr lang="en-US" b="1" dirty="0"/>
              <a:t>Remaining Shelf Life: </a:t>
            </a:r>
            <a:r>
              <a:rPr lang="en-US" dirty="0"/>
              <a:t>Shorter shelf life could mean higher risk of obsolescence.</a:t>
            </a:r>
          </a:p>
          <a:p>
            <a:pPr marL="800100" lvl="1" indent="-342900" algn="just">
              <a:lnSpc>
                <a:spcPct val="150000"/>
              </a:lnSpc>
              <a:buFont typeface="Arial" panose="020B0604020202020204" pitchFamily="34" charset="0"/>
              <a:buChar char="•"/>
            </a:pPr>
            <a:r>
              <a:rPr lang="en-US" b="1" dirty="0"/>
              <a:t>Lifecycle Phase: </a:t>
            </a:r>
            <a:r>
              <a:rPr lang="en-US" dirty="0"/>
              <a:t>Products in the Decline phase are more prone to becoming obsolete.</a:t>
            </a:r>
          </a:p>
          <a:p>
            <a:pPr marL="800100" lvl="1" indent="-342900" algn="just">
              <a:lnSpc>
                <a:spcPct val="150000"/>
              </a:lnSpc>
              <a:buFont typeface="Arial" panose="020B0604020202020204" pitchFamily="34" charset="0"/>
              <a:buChar char="•"/>
            </a:pPr>
            <a:r>
              <a:rPr lang="en-US" b="1" dirty="0"/>
              <a:t>Subdivision and Month (Seasonality): </a:t>
            </a:r>
            <a:r>
              <a:rPr lang="en-US" dirty="0"/>
              <a:t>Some subdivisions show clear seasonality that affects demand.</a:t>
            </a:r>
          </a:p>
          <a:p>
            <a:pPr marL="800100" lvl="1" indent="-342900" algn="just">
              <a:lnSpc>
                <a:spcPct val="150000"/>
              </a:lnSpc>
              <a:buFont typeface="Arial" panose="020B0604020202020204" pitchFamily="34" charset="0"/>
              <a:buChar char="•"/>
            </a:pPr>
            <a:r>
              <a:rPr lang="en-US" b="1" dirty="0"/>
              <a:t>Carrying Cost and Unit Cost: </a:t>
            </a:r>
            <a:r>
              <a:rPr lang="en-US" dirty="0"/>
              <a:t>Higher costs may motivate reduction of E&amp;O to avoid unnecessary financial impact.</a:t>
            </a:r>
            <a:endParaRPr lang="en-IN" dirty="0"/>
          </a:p>
        </p:txBody>
      </p:sp>
    </p:spTree>
    <p:extLst>
      <p:ext uri="{BB962C8B-B14F-4D97-AF65-F5344CB8AC3E}">
        <p14:creationId xmlns:p14="http://schemas.microsoft.com/office/powerpoint/2010/main" val="40753841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extLst>
              <p:ext uri="{D42A27DB-BD31-4B8C-83A1-F6EECF244321}">
                <p14:modId xmlns:p14="http://schemas.microsoft.com/office/powerpoint/2010/main" val="1895481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E316BF26-46D1-685E-A3DD-06228762E26C}"/>
              </a:ext>
            </a:extLst>
          </p:cNvPr>
          <p:cNvSpPr txBox="1"/>
          <p:nvPr/>
        </p:nvSpPr>
        <p:spPr>
          <a:xfrm>
            <a:off x="100012" y="743735"/>
            <a:ext cx="11763375" cy="5596853"/>
          </a:xfrm>
          <a:prstGeom prst="rect">
            <a:avLst/>
          </a:prstGeom>
          <a:noFill/>
        </p:spPr>
        <p:txBody>
          <a:bodyPr wrap="square">
            <a:spAutoFit/>
          </a:bodyPr>
          <a:lstStyle/>
          <a:p>
            <a:pPr algn="just">
              <a:lnSpc>
                <a:spcPct val="150000"/>
              </a:lnSpc>
            </a:pPr>
            <a:r>
              <a:rPr lang="en-US" sz="1600" b="1" dirty="0"/>
              <a:t>1. Modeling Approaches Considered:</a:t>
            </a:r>
          </a:p>
          <a:p>
            <a:pPr marL="285750" indent="-285750" algn="just">
              <a:lnSpc>
                <a:spcPct val="150000"/>
              </a:lnSpc>
              <a:buFont typeface="Arial" panose="020B0604020202020204" pitchFamily="34" charset="0"/>
              <a:buChar char="•"/>
            </a:pPr>
            <a:r>
              <a:rPr lang="en-US" sz="1600" b="1" dirty="0"/>
              <a:t>Regression Models</a:t>
            </a:r>
            <a:r>
              <a:rPr lang="en-US" sz="1600" dirty="0"/>
              <a:t>: To predict the amount of excess stock, including Linear Regression and Gradient Boosting for capturing complex relationships.</a:t>
            </a:r>
          </a:p>
          <a:p>
            <a:pPr marL="285750" indent="-285750" algn="just">
              <a:lnSpc>
                <a:spcPct val="150000"/>
              </a:lnSpc>
              <a:buFont typeface="Arial" panose="020B0604020202020204" pitchFamily="34" charset="0"/>
              <a:buChar char="•"/>
            </a:pPr>
            <a:r>
              <a:rPr lang="en-US" sz="1600" b="1" dirty="0"/>
              <a:t>Classification</a:t>
            </a:r>
            <a:r>
              <a:rPr lang="en-US" sz="1600" dirty="0"/>
              <a:t> </a:t>
            </a:r>
            <a:r>
              <a:rPr lang="en-US" sz="1600" b="1" dirty="0"/>
              <a:t>Models</a:t>
            </a:r>
            <a:r>
              <a:rPr lang="en-US" sz="1600" dirty="0"/>
              <a:t>: To classify SKUs as high or low risk of E&amp;O, including Random Forest and Logistic Regression for interpretability and reliability.</a:t>
            </a:r>
          </a:p>
          <a:p>
            <a:pPr marL="285750" indent="-285750" algn="just">
              <a:lnSpc>
                <a:spcPct val="150000"/>
              </a:lnSpc>
              <a:buFont typeface="Arial" panose="020B0604020202020204" pitchFamily="34" charset="0"/>
              <a:buChar char="•"/>
            </a:pPr>
            <a:endParaRPr lang="en-US" sz="1600" dirty="0"/>
          </a:p>
          <a:p>
            <a:pPr algn="just">
              <a:lnSpc>
                <a:spcPct val="150000"/>
              </a:lnSpc>
            </a:pPr>
            <a:r>
              <a:rPr lang="en-US" sz="1600" b="1" dirty="0"/>
              <a:t>2. Why We Chose These Models:</a:t>
            </a:r>
          </a:p>
          <a:p>
            <a:pPr marL="285750" indent="-285750" algn="just">
              <a:lnSpc>
                <a:spcPct val="150000"/>
              </a:lnSpc>
              <a:buFont typeface="Arial" panose="020B0604020202020204" pitchFamily="34" charset="0"/>
              <a:buChar char="•"/>
            </a:pPr>
            <a:r>
              <a:rPr lang="en-US" sz="1600" b="1" dirty="0"/>
              <a:t>Gradient</a:t>
            </a:r>
            <a:r>
              <a:rPr lang="en-US" sz="1600" dirty="0"/>
              <a:t> </a:t>
            </a:r>
            <a:r>
              <a:rPr lang="en-US" sz="1600" b="1" dirty="0"/>
              <a:t>Boosting</a:t>
            </a:r>
            <a:r>
              <a:rPr lang="en-US" sz="1600" dirty="0"/>
              <a:t> </a:t>
            </a:r>
            <a:r>
              <a:rPr lang="en-US" sz="1600" b="1" dirty="0"/>
              <a:t>Regressor</a:t>
            </a:r>
            <a:r>
              <a:rPr lang="en-US" sz="1600" dirty="0"/>
              <a:t>: Strong at identifying non-linear patterns, which helps in understanding the nuanced drivers of excess stock.</a:t>
            </a:r>
          </a:p>
          <a:p>
            <a:pPr marL="285750" indent="-285750" algn="just">
              <a:lnSpc>
                <a:spcPct val="150000"/>
              </a:lnSpc>
              <a:buFont typeface="Arial" panose="020B0604020202020204" pitchFamily="34" charset="0"/>
              <a:buChar char="•"/>
            </a:pPr>
            <a:r>
              <a:rPr lang="en-US" sz="1600" b="1" dirty="0"/>
              <a:t>Random</a:t>
            </a:r>
            <a:r>
              <a:rPr lang="en-US" sz="1600" dirty="0"/>
              <a:t> </a:t>
            </a:r>
            <a:r>
              <a:rPr lang="en-US" sz="1600" b="1" dirty="0"/>
              <a:t>Forest</a:t>
            </a:r>
            <a:r>
              <a:rPr lang="en-US" sz="1600" dirty="0"/>
              <a:t> </a:t>
            </a:r>
            <a:r>
              <a:rPr lang="en-US" sz="1600" b="1" dirty="0"/>
              <a:t>Classifier</a:t>
            </a:r>
            <a:r>
              <a:rPr lang="en-US" sz="1600" dirty="0"/>
              <a:t>: Effective for feature importance and handling imbalanced data (e.g., few high-risk SKUs), providing interpretable results.</a:t>
            </a:r>
          </a:p>
          <a:p>
            <a:pPr marL="285750" indent="-285750" algn="just">
              <a:lnSpc>
                <a:spcPct val="150000"/>
              </a:lnSpc>
              <a:buFont typeface="Arial" panose="020B0604020202020204" pitchFamily="34" charset="0"/>
              <a:buChar char="•"/>
            </a:pPr>
            <a:r>
              <a:rPr lang="en-US" sz="1600" b="1" dirty="0"/>
              <a:t>Logistic</a:t>
            </a:r>
            <a:r>
              <a:rPr lang="en-US" sz="1600" dirty="0"/>
              <a:t> </a:t>
            </a:r>
            <a:r>
              <a:rPr lang="en-US" sz="1600" b="1" dirty="0"/>
              <a:t>Regression</a:t>
            </a:r>
            <a:r>
              <a:rPr lang="en-US" sz="1600" dirty="0"/>
              <a:t>: Simple and interpretable baseline model for classification.</a:t>
            </a:r>
          </a:p>
          <a:p>
            <a:pPr marL="285750" indent="-285750" algn="just">
              <a:lnSpc>
                <a:spcPct val="150000"/>
              </a:lnSpc>
              <a:buFont typeface="Arial" panose="020B0604020202020204" pitchFamily="34" charset="0"/>
              <a:buChar char="•"/>
            </a:pPr>
            <a:endParaRPr lang="en-US" sz="1600" dirty="0"/>
          </a:p>
          <a:p>
            <a:pPr algn="just">
              <a:lnSpc>
                <a:spcPct val="150000"/>
              </a:lnSpc>
            </a:pPr>
            <a:r>
              <a:rPr lang="en-US" sz="1600" b="1" dirty="0"/>
              <a:t>3. Stakeholder</a:t>
            </a:r>
            <a:r>
              <a:rPr lang="en-US" sz="1600" dirty="0"/>
              <a:t> </a:t>
            </a:r>
            <a:r>
              <a:rPr lang="en-US" sz="1600" b="1" dirty="0"/>
              <a:t>Relevance</a:t>
            </a:r>
            <a:r>
              <a:rPr lang="en-US" sz="1600" dirty="0"/>
              <a:t>: Models selected allow for accurate, actionable insights, helping stakeholders prioritize high-risk SKUs and take proactive measures.</a:t>
            </a:r>
            <a:endParaRPr lang="en-IN" sz="1600" dirty="0"/>
          </a:p>
        </p:txBody>
      </p:sp>
      <p:sp>
        <p:nvSpPr>
          <p:cNvPr id="2" name="TextBox 1">
            <a:extLst>
              <a:ext uri="{FF2B5EF4-FFF2-40B4-BE49-F238E27FC236}">
                <a16:creationId xmlns:a16="http://schemas.microsoft.com/office/drawing/2014/main" id="{BC72F454-9879-0A53-62D7-30415546D668}"/>
              </a:ext>
            </a:extLst>
          </p:cNvPr>
          <p:cNvSpPr txBox="1"/>
          <p:nvPr/>
        </p:nvSpPr>
        <p:spPr>
          <a:xfrm>
            <a:off x="-1" y="93018"/>
            <a:ext cx="12368463" cy="523220"/>
          </a:xfrm>
          <a:prstGeom prst="rect">
            <a:avLst/>
          </a:prstGeom>
          <a:noFill/>
        </p:spPr>
        <p:txBody>
          <a:bodyPr wrap="square" rtlCol="0">
            <a:spAutoFit/>
          </a:bodyPr>
          <a:lstStyle/>
          <a:p>
            <a:r>
              <a:rPr lang="en-US" sz="2800" b="1" dirty="0"/>
              <a:t>3.2 Model Selection: Choosing the Right Tools for Insight</a:t>
            </a:r>
          </a:p>
        </p:txBody>
      </p:sp>
      <p:cxnSp>
        <p:nvCxnSpPr>
          <p:cNvPr id="3" name="Straight Connector 2">
            <a:extLst>
              <a:ext uri="{FF2B5EF4-FFF2-40B4-BE49-F238E27FC236}">
                <a16:creationId xmlns:a16="http://schemas.microsoft.com/office/drawing/2014/main" id="{E125CFD9-EC81-DA5A-BD69-0853CA046E36}"/>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10242" name="Picture 2" descr="Regression icon">
            <a:extLst>
              <a:ext uri="{FF2B5EF4-FFF2-40B4-BE49-F238E27FC236}">
                <a16:creationId xmlns:a16="http://schemas.microsoft.com/office/drawing/2014/main" id="{9A417493-A1B9-517F-A3D8-66C8B0A7DE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81300" y="1475947"/>
            <a:ext cx="523875" cy="523875"/>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Resource allocation icon">
            <a:extLst>
              <a:ext uri="{FF2B5EF4-FFF2-40B4-BE49-F238E27FC236}">
                <a16:creationId xmlns:a16="http://schemas.microsoft.com/office/drawing/2014/main" id="{D6DB1521-FA24-10A8-B2AD-F5610FCD83E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48026" y="2825008"/>
            <a:ext cx="602350" cy="602350"/>
          </a:xfrm>
          <a:prstGeom prst="rect">
            <a:avLst/>
          </a:prstGeom>
          <a:noFill/>
          <a:extLst>
            <a:ext uri="{909E8E84-426E-40DD-AFC4-6F175D3DCCD1}">
              <a14:hiddenFill xmlns:a14="http://schemas.microsoft.com/office/drawing/2010/main">
                <a:solidFill>
                  <a:srgbClr val="FFFFFF"/>
                </a:solidFill>
              </a14:hiddenFill>
            </a:ext>
          </a:extLst>
        </p:spPr>
      </p:pic>
      <p:pic>
        <p:nvPicPr>
          <p:cNvPr id="10250" name="Picture 10" descr="Logistic Regression in Machine Learning ...">
            <a:extLst>
              <a:ext uri="{FF2B5EF4-FFF2-40B4-BE49-F238E27FC236}">
                <a16:creationId xmlns:a16="http://schemas.microsoft.com/office/drawing/2014/main" id="{1DD5A42F-A709-E385-8AE1-53A825474B35}"/>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7498680" y="4876054"/>
            <a:ext cx="568995" cy="448420"/>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descr="Sharing icon">
            <a:extLst>
              <a:ext uri="{FF2B5EF4-FFF2-40B4-BE49-F238E27FC236}">
                <a16:creationId xmlns:a16="http://schemas.microsoft.com/office/drawing/2014/main" id="{C2E25040-74E3-FD53-8B5D-241506C025C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33249" y="5852327"/>
            <a:ext cx="523875" cy="523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13803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408593D3-8314-3F89-4088-1E6B9052D088}"/>
              </a:ext>
            </a:extLst>
          </p:cNvPr>
          <p:cNvSpPr txBox="1"/>
          <p:nvPr/>
        </p:nvSpPr>
        <p:spPr>
          <a:xfrm>
            <a:off x="-1" y="93018"/>
            <a:ext cx="12368463" cy="523220"/>
          </a:xfrm>
          <a:prstGeom prst="rect">
            <a:avLst/>
          </a:prstGeom>
          <a:noFill/>
        </p:spPr>
        <p:txBody>
          <a:bodyPr wrap="square" rtlCol="0">
            <a:spAutoFit/>
          </a:bodyPr>
          <a:lstStyle/>
          <a:p>
            <a:r>
              <a:rPr lang="en-US" sz="2800" b="1" dirty="0"/>
              <a:t>3.3 Model Training &amp; Evaluation: Performance Metrics </a:t>
            </a:r>
          </a:p>
        </p:txBody>
      </p:sp>
      <p:cxnSp>
        <p:nvCxnSpPr>
          <p:cNvPr id="3" name="Straight Connector 2">
            <a:extLst>
              <a:ext uri="{FF2B5EF4-FFF2-40B4-BE49-F238E27FC236}">
                <a16:creationId xmlns:a16="http://schemas.microsoft.com/office/drawing/2014/main" id="{A746BA78-EEFA-ADCE-CFCB-9569430423E9}"/>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ED1F3788-52DC-BB27-2810-902686A36138}"/>
              </a:ext>
            </a:extLst>
          </p:cNvPr>
          <p:cNvSpPr txBox="1"/>
          <p:nvPr/>
        </p:nvSpPr>
        <p:spPr>
          <a:xfrm>
            <a:off x="164592" y="717600"/>
            <a:ext cx="6779133" cy="5966185"/>
          </a:xfrm>
          <a:prstGeom prst="rect">
            <a:avLst/>
          </a:prstGeom>
          <a:noFill/>
        </p:spPr>
        <p:txBody>
          <a:bodyPr wrap="square">
            <a:spAutoFit/>
          </a:bodyPr>
          <a:lstStyle/>
          <a:p>
            <a:pPr algn="just">
              <a:lnSpc>
                <a:spcPct val="150000"/>
              </a:lnSpc>
            </a:pPr>
            <a:r>
              <a:rPr lang="en-US" sz="1600" b="1" dirty="0"/>
              <a:t>Evaluation Metrics Chosen:</a:t>
            </a:r>
          </a:p>
          <a:p>
            <a:pPr marL="285750" indent="-285750" algn="just">
              <a:lnSpc>
                <a:spcPct val="150000"/>
              </a:lnSpc>
              <a:buFont typeface="Arial" panose="020B0604020202020204" pitchFamily="34" charset="0"/>
              <a:buChar char="•"/>
            </a:pPr>
            <a:r>
              <a:rPr lang="en-US" sz="1600" b="1" dirty="0"/>
              <a:t>Regression (R-squared, MAE): </a:t>
            </a:r>
            <a:r>
              <a:rPr lang="en-US" sz="1600" dirty="0"/>
              <a:t>Indicates model fit and prediction error.</a:t>
            </a:r>
          </a:p>
          <a:p>
            <a:pPr marL="285750" indent="-285750" algn="just">
              <a:lnSpc>
                <a:spcPct val="150000"/>
              </a:lnSpc>
              <a:buFont typeface="Arial" panose="020B0604020202020204" pitchFamily="34" charset="0"/>
              <a:buChar char="•"/>
            </a:pPr>
            <a:r>
              <a:rPr lang="en-US" sz="1600" b="1" dirty="0"/>
              <a:t>Classification (Accuracy, F1 Score, Jaccard Score): </a:t>
            </a:r>
            <a:r>
              <a:rPr lang="en-US" sz="1600" dirty="0"/>
              <a:t>Measures accuracy, balance of precision &amp; recall, and overlap of predictions to actual high-risk SKUs.</a:t>
            </a:r>
          </a:p>
          <a:p>
            <a:pPr algn="just">
              <a:lnSpc>
                <a:spcPct val="150000"/>
              </a:lnSpc>
            </a:pPr>
            <a:endParaRPr lang="en-US" sz="1600" dirty="0"/>
          </a:p>
          <a:p>
            <a:pPr algn="just">
              <a:lnSpc>
                <a:spcPct val="150000"/>
              </a:lnSpc>
            </a:pPr>
            <a:r>
              <a:rPr lang="en-US" sz="1600" b="1" dirty="0"/>
              <a:t>Training Results Summary:</a:t>
            </a:r>
          </a:p>
          <a:p>
            <a:pPr marL="285750" indent="-285750" algn="just">
              <a:lnSpc>
                <a:spcPct val="150000"/>
              </a:lnSpc>
              <a:buFont typeface="Arial" panose="020B0604020202020204" pitchFamily="34" charset="0"/>
              <a:buChar char="•"/>
            </a:pPr>
            <a:r>
              <a:rPr lang="en-US" sz="1600" b="1" dirty="0"/>
              <a:t>Best Regression Model: </a:t>
            </a:r>
            <a:r>
              <a:rPr lang="en-US" sz="1600" dirty="0"/>
              <a:t>Gradient Boosting Regressor</a:t>
            </a:r>
          </a:p>
          <a:p>
            <a:pPr marL="742950" lvl="1" indent="-285750" algn="just">
              <a:lnSpc>
                <a:spcPct val="150000"/>
              </a:lnSpc>
              <a:buFont typeface="Arial" panose="020B0604020202020204" pitchFamily="34" charset="0"/>
              <a:buChar char="•"/>
            </a:pPr>
            <a:r>
              <a:rPr lang="en-US" sz="1600" b="1" dirty="0"/>
              <a:t>R-squared: </a:t>
            </a:r>
            <a:r>
              <a:rPr lang="en-US" sz="1600" dirty="0"/>
              <a:t>~0.71 (explains 71% of variation in excess stock).</a:t>
            </a:r>
          </a:p>
          <a:p>
            <a:pPr marL="742950" lvl="1" indent="-285750" algn="just">
              <a:lnSpc>
                <a:spcPct val="150000"/>
              </a:lnSpc>
              <a:buFont typeface="Arial" panose="020B0604020202020204" pitchFamily="34" charset="0"/>
              <a:buChar char="•"/>
            </a:pPr>
            <a:r>
              <a:rPr lang="en-US" sz="1600" b="1" dirty="0"/>
              <a:t>MAE</a:t>
            </a:r>
            <a:r>
              <a:rPr lang="en-US" sz="1600" dirty="0"/>
              <a:t>: ~24.8 units (average prediction error in units of stock).</a:t>
            </a:r>
          </a:p>
          <a:p>
            <a:pPr marL="285750" indent="-285750" algn="just">
              <a:lnSpc>
                <a:spcPct val="150000"/>
              </a:lnSpc>
              <a:buFont typeface="Arial" panose="020B0604020202020204" pitchFamily="34" charset="0"/>
              <a:buChar char="•"/>
            </a:pPr>
            <a:r>
              <a:rPr lang="en-US" sz="1600" b="1" dirty="0"/>
              <a:t>Best</a:t>
            </a:r>
            <a:r>
              <a:rPr lang="en-US" sz="1600" dirty="0"/>
              <a:t> </a:t>
            </a:r>
            <a:r>
              <a:rPr lang="en-US" sz="1600" b="1" dirty="0"/>
              <a:t>Classification</a:t>
            </a:r>
            <a:r>
              <a:rPr lang="en-US" sz="1600" dirty="0"/>
              <a:t> </a:t>
            </a:r>
            <a:r>
              <a:rPr lang="en-US" sz="1600" b="1" dirty="0"/>
              <a:t>Model</a:t>
            </a:r>
            <a:r>
              <a:rPr lang="en-US" sz="1600" dirty="0"/>
              <a:t>: Random Forest Classifier</a:t>
            </a:r>
          </a:p>
          <a:p>
            <a:pPr marL="742950" lvl="1" indent="-285750" algn="just">
              <a:lnSpc>
                <a:spcPct val="150000"/>
              </a:lnSpc>
              <a:buFont typeface="Arial" panose="020B0604020202020204" pitchFamily="34" charset="0"/>
              <a:buChar char="•"/>
            </a:pPr>
            <a:r>
              <a:rPr lang="en-US" sz="1600" b="1" dirty="0"/>
              <a:t>Accuracy</a:t>
            </a:r>
            <a:r>
              <a:rPr lang="en-US" sz="1600" dirty="0"/>
              <a:t>: ~79%</a:t>
            </a:r>
          </a:p>
          <a:p>
            <a:pPr marL="742950" lvl="1" indent="-285750" algn="just">
              <a:lnSpc>
                <a:spcPct val="150000"/>
              </a:lnSpc>
              <a:buFont typeface="Arial" panose="020B0604020202020204" pitchFamily="34" charset="0"/>
              <a:buChar char="•"/>
            </a:pPr>
            <a:r>
              <a:rPr lang="en-US" sz="1600" b="1" dirty="0"/>
              <a:t>F1</a:t>
            </a:r>
            <a:r>
              <a:rPr lang="en-US" sz="1600" dirty="0"/>
              <a:t> </a:t>
            </a:r>
            <a:r>
              <a:rPr lang="en-US" sz="1600" b="1" dirty="0"/>
              <a:t>Score</a:t>
            </a:r>
            <a:r>
              <a:rPr lang="en-US" sz="1600" dirty="0"/>
              <a:t>: ~0.80 (balancing precision and recall)</a:t>
            </a:r>
          </a:p>
          <a:p>
            <a:pPr marL="285750" indent="-285750" algn="just">
              <a:lnSpc>
                <a:spcPct val="150000"/>
              </a:lnSpc>
              <a:buFont typeface="Arial" panose="020B0604020202020204" pitchFamily="34" charset="0"/>
              <a:buChar char="•"/>
            </a:pPr>
            <a:r>
              <a:rPr lang="en-US" sz="1600" b="1" dirty="0"/>
              <a:t>Interpretation of Results: </a:t>
            </a:r>
            <a:r>
              <a:rPr lang="en-US" sz="1600" dirty="0"/>
              <a:t>Our chosen models capture complex relationships effectively (Gradient Boosting), while also identifying high-risk SKUs reliably (Random Forest Classifier).</a:t>
            </a:r>
            <a:endParaRPr lang="en-IN" sz="1600" dirty="0"/>
          </a:p>
        </p:txBody>
      </p:sp>
      <p:pic>
        <p:nvPicPr>
          <p:cNvPr id="13" name="Picture 12">
            <a:extLst>
              <a:ext uri="{FF2B5EF4-FFF2-40B4-BE49-F238E27FC236}">
                <a16:creationId xmlns:a16="http://schemas.microsoft.com/office/drawing/2014/main" id="{0D820860-A3D1-8ED9-4C43-D2B5FA0E168D}"/>
              </a:ext>
            </a:extLst>
          </p:cNvPr>
          <p:cNvPicPr>
            <a:picLocks noChangeAspect="1"/>
          </p:cNvPicPr>
          <p:nvPr/>
        </p:nvPicPr>
        <p:blipFill>
          <a:blip r:embed="rId5"/>
          <a:stretch>
            <a:fillRect/>
          </a:stretch>
        </p:blipFill>
        <p:spPr>
          <a:xfrm>
            <a:off x="7054436" y="832024"/>
            <a:ext cx="4645501" cy="2687693"/>
          </a:xfrm>
          <a:prstGeom prst="rect">
            <a:avLst/>
          </a:prstGeom>
        </p:spPr>
      </p:pic>
      <p:pic>
        <p:nvPicPr>
          <p:cNvPr id="15" name="Picture 14">
            <a:extLst>
              <a:ext uri="{FF2B5EF4-FFF2-40B4-BE49-F238E27FC236}">
                <a16:creationId xmlns:a16="http://schemas.microsoft.com/office/drawing/2014/main" id="{D60B7EF6-FCEA-2995-943E-F502DDD8170C}"/>
              </a:ext>
            </a:extLst>
          </p:cNvPr>
          <p:cNvPicPr>
            <a:picLocks noChangeAspect="1"/>
          </p:cNvPicPr>
          <p:nvPr/>
        </p:nvPicPr>
        <p:blipFill>
          <a:blip r:embed="rId6"/>
          <a:stretch>
            <a:fillRect/>
          </a:stretch>
        </p:blipFill>
        <p:spPr>
          <a:xfrm>
            <a:off x="7054435" y="3691340"/>
            <a:ext cx="4645501" cy="2717018"/>
          </a:xfrm>
          <a:prstGeom prst="rect">
            <a:avLst/>
          </a:prstGeom>
        </p:spPr>
      </p:pic>
    </p:spTree>
    <p:extLst>
      <p:ext uri="{BB962C8B-B14F-4D97-AF65-F5344CB8AC3E}">
        <p14:creationId xmlns:p14="http://schemas.microsoft.com/office/powerpoint/2010/main" val="2867684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408593D3-8314-3F89-4088-1E6B9052D088}"/>
              </a:ext>
            </a:extLst>
          </p:cNvPr>
          <p:cNvSpPr txBox="1"/>
          <p:nvPr/>
        </p:nvSpPr>
        <p:spPr>
          <a:xfrm>
            <a:off x="-1" y="93018"/>
            <a:ext cx="12368463" cy="523220"/>
          </a:xfrm>
          <a:prstGeom prst="rect">
            <a:avLst/>
          </a:prstGeom>
          <a:noFill/>
        </p:spPr>
        <p:txBody>
          <a:bodyPr wrap="square" rtlCol="0">
            <a:spAutoFit/>
          </a:bodyPr>
          <a:lstStyle/>
          <a:p>
            <a:r>
              <a:rPr lang="en-US" sz="2800" b="1" dirty="0"/>
              <a:t>3.4 Model Interpretation &amp; Insights for Decision-Making </a:t>
            </a:r>
          </a:p>
        </p:txBody>
      </p:sp>
      <p:cxnSp>
        <p:nvCxnSpPr>
          <p:cNvPr id="3" name="Straight Connector 2">
            <a:extLst>
              <a:ext uri="{FF2B5EF4-FFF2-40B4-BE49-F238E27FC236}">
                <a16:creationId xmlns:a16="http://schemas.microsoft.com/office/drawing/2014/main" id="{A746BA78-EEFA-ADCE-CFCB-9569430423E9}"/>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ED1F3788-52DC-BB27-2810-902686A36138}"/>
              </a:ext>
            </a:extLst>
          </p:cNvPr>
          <p:cNvSpPr txBox="1"/>
          <p:nvPr/>
        </p:nvSpPr>
        <p:spPr>
          <a:xfrm>
            <a:off x="164592" y="717600"/>
            <a:ext cx="11704320" cy="5227521"/>
          </a:xfrm>
          <a:prstGeom prst="rect">
            <a:avLst/>
          </a:prstGeom>
          <a:noFill/>
        </p:spPr>
        <p:txBody>
          <a:bodyPr wrap="square">
            <a:spAutoFit/>
          </a:bodyPr>
          <a:lstStyle/>
          <a:p>
            <a:pPr algn="just">
              <a:lnSpc>
                <a:spcPct val="150000"/>
              </a:lnSpc>
            </a:pPr>
            <a:r>
              <a:rPr lang="en-US" sz="1600" b="1" dirty="0"/>
              <a:t>Key Drivers Identified by the Model:</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High Carrying Cost </a:t>
            </a:r>
            <a:r>
              <a:rPr lang="en-US" sz="1600" dirty="0"/>
              <a:t>- Drives excess stock risk significantly; reduce carrying costs for high-risk SKUs.</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Demand Variability </a:t>
            </a:r>
            <a:r>
              <a:rPr lang="en-US" sz="1600" dirty="0"/>
              <a:t>- Highly volatile demand SKUs require dynamic stock adjustments.</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Forecast Accuracy </a:t>
            </a:r>
            <a:r>
              <a:rPr lang="en-US" sz="1600" dirty="0"/>
              <a:t>- Low forecast accuracy correlates with high E&amp;O; improving accuracy for high-value SKUs is essential.</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Lead Time &amp; Variability </a:t>
            </a:r>
            <a:r>
              <a:rPr lang="en-US" sz="1600" dirty="0"/>
              <a:t>- Extended or inconsistent lead times increase the likelihood of overstock; suggests need for supplier collaboration.</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Lifecycle Stage </a:t>
            </a:r>
            <a:r>
              <a:rPr lang="en-US" sz="1600" dirty="0"/>
              <a:t>- SKUs in decline phase are more prone to obsolescence, suggesting markdowns and exit strategies.</a:t>
            </a:r>
          </a:p>
          <a:p>
            <a:pPr algn="just">
              <a:lnSpc>
                <a:spcPct val="150000"/>
              </a:lnSpc>
            </a:pPr>
            <a:endParaRPr lang="en-US" sz="1600" dirty="0"/>
          </a:p>
          <a:p>
            <a:pPr algn="just">
              <a:lnSpc>
                <a:spcPct val="150000"/>
              </a:lnSpc>
            </a:pPr>
            <a:r>
              <a:rPr lang="en-US" sz="1600" b="1" dirty="0"/>
              <a:t>Actionable Insights:</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Adjust Reorder Policies:</a:t>
            </a:r>
            <a:r>
              <a:rPr lang="en-US" sz="1600" dirty="0"/>
              <a:t> For SKUs with high carrying costs, set lower reorder points or implement just-in-time practices.</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Demand-Based Stock Adjustments: </a:t>
            </a:r>
            <a:r>
              <a:rPr lang="en-US" sz="1600" dirty="0"/>
              <a:t>Use rolling averages for demand forecasts in high-fluctuation SKUs.</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Supplier Collaboration: </a:t>
            </a:r>
            <a:r>
              <a:rPr lang="en-US" sz="1600" dirty="0"/>
              <a:t>Work with suppliers to reduce lead time variability, potentially through buffer agreements or adjusted contracts.</a:t>
            </a:r>
          </a:p>
          <a:p>
            <a:pPr marL="285750" indent="-285750" algn="just">
              <a:lnSpc>
                <a:spcPct val="150000"/>
              </a:lnSpc>
              <a:buFont typeface="Arial" panose="020B0604020202020204" pitchFamily="34" charset="0"/>
              <a:buChar char="•"/>
            </a:pPr>
            <a:r>
              <a:rPr lang="en-US" sz="1600" b="1" dirty="0">
                <a:solidFill>
                  <a:schemeClr val="accent3">
                    <a:lumMod val="50000"/>
                  </a:schemeClr>
                </a:solidFill>
              </a:rPr>
              <a:t>Lifecycle Management: </a:t>
            </a:r>
            <a:r>
              <a:rPr lang="en-US" sz="1600" dirty="0"/>
              <a:t>Implement markdown strategies for SKUs nearing end of life to minimize obsolescence.</a:t>
            </a:r>
            <a:endParaRPr lang="en-IN" sz="1600" dirty="0"/>
          </a:p>
        </p:txBody>
      </p:sp>
    </p:spTree>
    <p:extLst>
      <p:ext uri="{BB962C8B-B14F-4D97-AF65-F5344CB8AC3E}">
        <p14:creationId xmlns:p14="http://schemas.microsoft.com/office/powerpoint/2010/main" val="22016689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408593D3-8314-3F89-4088-1E6B9052D088}"/>
              </a:ext>
            </a:extLst>
          </p:cNvPr>
          <p:cNvSpPr txBox="1"/>
          <p:nvPr/>
        </p:nvSpPr>
        <p:spPr>
          <a:xfrm>
            <a:off x="-1" y="93018"/>
            <a:ext cx="12368463" cy="523220"/>
          </a:xfrm>
          <a:prstGeom prst="rect">
            <a:avLst/>
          </a:prstGeom>
          <a:noFill/>
        </p:spPr>
        <p:txBody>
          <a:bodyPr wrap="square" rtlCol="0">
            <a:spAutoFit/>
          </a:bodyPr>
          <a:lstStyle/>
          <a:p>
            <a:r>
              <a:rPr lang="en-US" sz="2800" b="1" dirty="0"/>
              <a:t>3.5 Model Limitation</a:t>
            </a:r>
          </a:p>
        </p:txBody>
      </p:sp>
      <p:cxnSp>
        <p:nvCxnSpPr>
          <p:cNvPr id="3" name="Straight Connector 2">
            <a:extLst>
              <a:ext uri="{FF2B5EF4-FFF2-40B4-BE49-F238E27FC236}">
                <a16:creationId xmlns:a16="http://schemas.microsoft.com/office/drawing/2014/main" id="{A746BA78-EEFA-ADCE-CFCB-9569430423E9}"/>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ED1F3788-52DC-BB27-2810-902686A36138}"/>
              </a:ext>
            </a:extLst>
          </p:cNvPr>
          <p:cNvSpPr txBox="1"/>
          <p:nvPr/>
        </p:nvSpPr>
        <p:spPr>
          <a:xfrm>
            <a:off x="164593" y="717600"/>
            <a:ext cx="5843177" cy="5555110"/>
          </a:xfrm>
          <a:prstGeom prst="rect">
            <a:avLst/>
          </a:prstGeom>
          <a:noFill/>
        </p:spPr>
        <p:txBody>
          <a:bodyPr wrap="square">
            <a:spAutoFit/>
          </a:bodyPr>
          <a:lstStyle/>
          <a:p>
            <a:pPr algn="just">
              <a:lnSpc>
                <a:spcPct val="150000"/>
              </a:lnSpc>
            </a:pPr>
            <a:r>
              <a:rPr lang="en-US" sz="1400" b="1" dirty="0"/>
              <a:t> 1. Data Quality and Availability </a:t>
            </a:r>
            <a:r>
              <a:rPr lang="en-IN" sz="1400" dirty="0"/>
              <a:t>🔍</a:t>
            </a:r>
            <a:endParaRPr lang="en-US" sz="1400" b="1" dirty="0"/>
          </a:p>
          <a:p>
            <a:pPr algn="just">
              <a:lnSpc>
                <a:spcPct val="150000"/>
              </a:lnSpc>
            </a:pPr>
            <a:r>
              <a:rPr lang="en-US" sz="1400" i="1" dirty="0"/>
              <a:t>Challenge</a:t>
            </a:r>
            <a:r>
              <a:rPr lang="en-US" sz="1400" dirty="0"/>
              <a:t>: Missing values could impact prediction reliability.</a:t>
            </a:r>
          </a:p>
          <a:p>
            <a:pPr algn="just">
              <a:lnSpc>
                <a:spcPct val="150000"/>
              </a:lnSpc>
            </a:pPr>
            <a:r>
              <a:rPr lang="en-US" sz="1400" i="1" dirty="0"/>
              <a:t>Impact</a:t>
            </a:r>
            <a:r>
              <a:rPr lang="en-US" sz="1400" dirty="0"/>
              <a:t>: Seasonal trends may be underrepresented due to limited historical data.</a:t>
            </a:r>
          </a:p>
          <a:p>
            <a:pPr algn="just">
              <a:lnSpc>
                <a:spcPct val="150000"/>
              </a:lnSpc>
            </a:pPr>
            <a:r>
              <a:rPr lang="en-US" sz="1400" b="1" dirty="0"/>
              <a:t>2. Feature Engineering Constraints</a:t>
            </a:r>
          </a:p>
          <a:p>
            <a:pPr algn="just">
              <a:lnSpc>
                <a:spcPct val="150000"/>
              </a:lnSpc>
            </a:pPr>
            <a:r>
              <a:rPr lang="en-US" sz="1400" i="1" dirty="0"/>
              <a:t>Challenge</a:t>
            </a:r>
            <a:r>
              <a:rPr lang="en-US" sz="1400" dirty="0"/>
              <a:t>: Lagged variables and rolling averages assume consistency.</a:t>
            </a:r>
          </a:p>
          <a:p>
            <a:pPr algn="just">
              <a:lnSpc>
                <a:spcPct val="150000"/>
              </a:lnSpc>
            </a:pPr>
            <a:r>
              <a:rPr lang="en-US" sz="1400" i="1" dirty="0"/>
              <a:t>Impact</a:t>
            </a:r>
            <a:r>
              <a:rPr lang="en-US" sz="1400" dirty="0"/>
              <a:t>: Erratic demand patterns may not be fully captured, affecting prediction accuracy. </a:t>
            </a:r>
            <a:r>
              <a:rPr lang="en-IN" sz="1400" dirty="0"/>
              <a:t>📊</a:t>
            </a:r>
            <a:endParaRPr lang="en-US" sz="1400" dirty="0"/>
          </a:p>
          <a:p>
            <a:pPr algn="just">
              <a:lnSpc>
                <a:spcPct val="150000"/>
              </a:lnSpc>
            </a:pPr>
            <a:r>
              <a:rPr lang="en-US" sz="1400" b="1" dirty="0"/>
              <a:t>3. Model Interpretability</a:t>
            </a:r>
          </a:p>
          <a:p>
            <a:pPr algn="just">
              <a:lnSpc>
                <a:spcPct val="150000"/>
              </a:lnSpc>
            </a:pPr>
            <a:r>
              <a:rPr lang="en-US" sz="1400" i="1" dirty="0"/>
              <a:t>Challenge</a:t>
            </a:r>
            <a:r>
              <a:rPr lang="en-US" sz="1400" dirty="0"/>
              <a:t>: Tree-based models (e.g., Gradient Boosting, Random Forest) are less interpretable.</a:t>
            </a:r>
          </a:p>
          <a:p>
            <a:pPr algn="just">
              <a:lnSpc>
                <a:spcPct val="150000"/>
              </a:lnSpc>
            </a:pPr>
            <a:r>
              <a:rPr lang="en-US" sz="1400" i="1" dirty="0"/>
              <a:t>Impact</a:t>
            </a:r>
            <a:r>
              <a:rPr lang="en-US" sz="1400" dirty="0"/>
              <a:t>: Limited transparency for stakeholders, potentially affecting trust in predictions.</a:t>
            </a:r>
          </a:p>
          <a:p>
            <a:pPr algn="just">
              <a:lnSpc>
                <a:spcPct val="150000"/>
              </a:lnSpc>
            </a:pPr>
            <a:r>
              <a:rPr lang="en-US" sz="1400" b="1" dirty="0"/>
              <a:t>4. Sensitivity to Hyperparameters</a:t>
            </a:r>
          </a:p>
          <a:p>
            <a:pPr algn="just">
              <a:lnSpc>
                <a:spcPct val="150000"/>
              </a:lnSpc>
            </a:pPr>
            <a:r>
              <a:rPr lang="en-US" sz="1400" i="1" dirty="0"/>
              <a:t>Challenge</a:t>
            </a:r>
            <a:r>
              <a:rPr lang="en-US" sz="1400" dirty="0"/>
              <a:t>: Risk of overfitting and parameter instability.</a:t>
            </a:r>
          </a:p>
          <a:p>
            <a:pPr algn="just">
              <a:lnSpc>
                <a:spcPct val="150000"/>
              </a:lnSpc>
            </a:pPr>
            <a:r>
              <a:rPr lang="en-US" sz="1400" i="1" dirty="0"/>
              <a:t>Impact</a:t>
            </a:r>
            <a:r>
              <a:rPr lang="en-US" sz="1400" dirty="0"/>
              <a:t>: Regular tuning is essential to avoid overfitting and maintain long-term robustness.</a:t>
            </a:r>
          </a:p>
        </p:txBody>
      </p:sp>
      <p:sp>
        <p:nvSpPr>
          <p:cNvPr id="5" name="TextBox 4">
            <a:extLst>
              <a:ext uri="{FF2B5EF4-FFF2-40B4-BE49-F238E27FC236}">
                <a16:creationId xmlns:a16="http://schemas.microsoft.com/office/drawing/2014/main" id="{1770C8D5-8328-B14B-9EEF-A69F2230E7A0}"/>
              </a:ext>
            </a:extLst>
          </p:cNvPr>
          <p:cNvSpPr txBox="1"/>
          <p:nvPr/>
        </p:nvSpPr>
        <p:spPr>
          <a:xfrm>
            <a:off x="6184230" y="717600"/>
            <a:ext cx="5843177" cy="3939284"/>
          </a:xfrm>
          <a:prstGeom prst="rect">
            <a:avLst/>
          </a:prstGeom>
          <a:noFill/>
        </p:spPr>
        <p:txBody>
          <a:bodyPr wrap="square">
            <a:spAutoFit/>
          </a:bodyPr>
          <a:lstStyle/>
          <a:p>
            <a:pPr algn="just">
              <a:lnSpc>
                <a:spcPct val="150000"/>
              </a:lnSpc>
            </a:pPr>
            <a:r>
              <a:rPr lang="en-US" sz="1400" b="1" dirty="0"/>
              <a:t>5. Generalizability</a:t>
            </a:r>
          </a:p>
          <a:p>
            <a:pPr algn="just">
              <a:lnSpc>
                <a:spcPct val="150000"/>
              </a:lnSpc>
            </a:pPr>
            <a:r>
              <a:rPr lang="en-US" sz="1400" i="1" dirty="0"/>
              <a:t>Challenge</a:t>
            </a:r>
            <a:r>
              <a:rPr lang="en-US" sz="1400" dirty="0"/>
              <a:t>: Models are specific to current SKUs and subdivisions.</a:t>
            </a:r>
          </a:p>
          <a:p>
            <a:pPr algn="just">
              <a:lnSpc>
                <a:spcPct val="150000"/>
              </a:lnSpc>
            </a:pPr>
            <a:r>
              <a:rPr lang="en-US" sz="1400" i="1" dirty="0"/>
              <a:t>Impact</a:t>
            </a:r>
            <a:r>
              <a:rPr lang="en-US" sz="1400" dirty="0"/>
              <a:t>: New or unseen categories may limit model applicability; frequent retraining is required.</a:t>
            </a:r>
          </a:p>
          <a:p>
            <a:pPr algn="just">
              <a:lnSpc>
                <a:spcPct val="150000"/>
              </a:lnSpc>
            </a:pPr>
            <a:r>
              <a:rPr lang="en-US" sz="1400" b="1" dirty="0"/>
              <a:t>6. Anomaly and Outlier Sensitivity</a:t>
            </a:r>
          </a:p>
          <a:p>
            <a:pPr algn="just">
              <a:lnSpc>
                <a:spcPct val="150000"/>
              </a:lnSpc>
            </a:pPr>
            <a:r>
              <a:rPr lang="en-US" sz="1400" i="1" dirty="0"/>
              <a:t>Challenge</a:t>
            </a:r>
            <a:r>
              <a:rPr lang="en-US" sz="1400" dirty="0"/>
              <a:t>: High demand variability and market disruptions can skew predictions.</a:t>
            </a:r>
          </a:p>
          <a:p>
            <a:pPr algn="just">
              <a:lnSpc>
                <a:spcPct val="150000"/>
              </a:lnSpc>
            </a:pPr>
            <a:r>
              <a:rPr lang="en-US" sz="1400" i="1" dirty="0"/>
              <a:t>Impact</a:t>
            </a:r>
            <a:r>
              <a:rPr lang="en-US" sz="1400" dirty="0"/>
              <a:t>: Extreme events and outliers may not be fully captured, impacting inventory decisions.</a:t>
            </a:r>
          </a:p>
          <a:p>
            <a:pPr algn="just">
              <a:lnSpc>
                <a:spcPct val="150000"/>
              </a:lnSpc>
            </a:pPr>
            <a:r>
              <a:rPr lang="en-US" sz="1400" b="1" dirty="0"/>
              <a:t>7. Limited Real-Time Adaptability</a:t>
            </a:r>
          </a:p>
          <a:p>
            <a:pPr algn="just">
              <a:lnSpc>
                <a:spcPct val="150000"/>
              </a:lnSpc>
            </a:pPr>
            <a:r>
              <a:rPr lang="en-US" sz="1400" i="1" dirty="0"/>
              <a:t>Challenge</a:t>
            </a:r>
            <a:r>
              <a:rPr lang="en-US" sz="1400" dirty="0"/>
              <a:t>: Models are not automatically updated in real-time.</a:t>
            </a:r>
          </a:p>
          <a:p>
            <a:pPr algn="just">
              <a:lnSpc>
                <a:spcPct val="150000"/>
              </a:lnSpc>
            </a:pPr>
            <a:r>
              <a:rPr lang="en-US" sz="1400" i="1" dirty="0"/>
              <a:t>Impact</a:t>
            </a:r>
            <a:r>
              <a:rPr lang="en-US" sz="1400" dirty="0"/>
              <a:t>: Insights could become outdated without scheduled retraining.</a:t>
            </a:r>
            <a:endParaRPr lang="en-IN" sz="1400" dirty="0"/>
          </a:p>
        </p:txBody>
      </p:sp>
      <p:sp>
        <p:nvSpPr>
          <p:cNvPr id="8" name="TextBox 7">
            <a:extLst>
              <a:ext uri="{FF2B5EF4-FFF2-40B4-BE49-F238E27FC236}">
                <a16:creationId xmlns:a16="http://schemas.microsoft.com/office/drawing/2014/main" id="{BECC033B-0FEF-FD91-26F3-4DC045FDE175}"/>
              </a:ext>
            </a:extLst>
          </p:cNvPr>
          <p:cNvSpPr txBox="1"/>
          <p:nvPr/>
        </p:nvSpPr>
        <p:spPr>
          <a:xfrm>
            <a:off x="6391274" y="4967585"/>
            <a:ext cx="5248275" cy="738664"/>
          </a:xfrm>
          <a:prstGeom prst="rect">
            <a:avLst/>
          </a:prstGeom>
          <a:noFill/>
        </p:spPr>
        <p:txBody>
          <a:bodyPr wrap="square">
            <a:spAutoFit/>
          </a:bodyPr>
          <a:lstStyle/>
          <a:p>
            <a:pPr algn="just"/>
            <a:r>
              <a:rPr lang="en-US" sz="1400" i="1" dirty="0">
                <a:solidFill>
                  <a:schemeClr val="accent4">
                    <a:lumMod val="50000"/>
                  </a:schemeClr>
                </a:solidFill>
              </a:rPr>
              <a:t>Key takeaway message: “Continuous data updates and interpretability improvements are key to maximizing the model's effectiveness.”</a:t>
            </a:r>
            <a:endParaRPr lang="en-IN" sz="1400" i="1" dirty="0">
              <a:solidFill>
                <a:schemeClr val="accent4">
                  <a:lumMod val="50000"/>
                </a:schemeClr>
              </a:solidFill>
            </a:endParaRPr>
          </a:p>
        </p:txBody>
      </p:sp>
    </p:spTree>
    <p:extLst>
      <p:ext uri="{BB962C8B-B14F-4D97-AF65-F5344CB8AC3E}">
        <p14:creationId xmlns:p14="http://schemas.microsoft.com/office/powerpoint/2010/main" val="26300101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190A6501-5EEC-4A08-C65D-F5BC54786C9B}"/>
              </a:ext>
            </a:extLst>
          </p:cNvPr>
          <p:cNvSpPr txBox="1"/>
          <p:nvPr/>
        </p:nvSpPr>
        <p:spPr>
          <a:xfrm>
            <a:off x="2095500" y="2875002"/>
            <a:ext cx="8001000" cy="553998"/>
          </a:xfrm>
          <a:prstGeom prst="rect">
            <a:avLst/>
          </a:prstGeom>
          <a:noFill/>
        </p:spPr>
        <p:txBody>
          <a:bodyPr wrap="square">
            <a:spAutoFit/>
          </a:bodyPr>
          <a:lstStyle/>
          <a:p>
            <a:pPr algn="ctr"/>
            <a:r>
              <a:rPr lang="en-US" sz="3000" b="1" dirty="0"/>
              <a:t>Model Interpretation and Actionable Insights</a:t>
            </a:r>
            <a:endParaRPr lang="en-IN" sz="3000" b="1" dirty="0"/>
          </a:p>
        </p:txBody>
      </p:sp>
      <p:pic>
        <p:nvPicPr>
          <p:cNvPr id="2050" name="Picture 2" descr="Natural language processing icon">
            <a:extLst>
              <a:ext uri="{FF2B5EF4-FFF2-40B4-BE49-F238E27FC236}">
                <a16:creationId xmlns:a16="http://schemas.microsoft.com/office/drawing/2014/main" id="{5B75EF2F-C3A3-9488-93C5-D2B7FEDEC7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76800" y="1075002"/>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dea icon">
            <a:extLst>
              <a:ext uri="{FF2B5EF4-FFF2-40B4-BE49-F238E27FC236}">
                <a16:creationId xmlns:a16="http://schemas.microsoft.com/office/drawing/2014/main" id="{7E79FAE4-6747-732E-4D9A-42CD3A1A852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01712" y="3672840"/>
            <a:ext cx="1440000" cy="14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08284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D4C56C-307F-6795-EEF6-DD3D45A763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FDD4C56C-307F-6795-EEF6-DD3D45A76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13">
            <a:extLst>
              <a:ext uri="{FF2B5EF4-FFF2-40B4-BE49-F238E27FC236}">
                <a16:creationId xmlns:a16="http://schemas.microsoft.com/office/drawing/2014/main" id="{C8742313-4ECA-1487-E816-E642EF1AB7DF}"/>
              </a:ext>
            </a:extLst>
          </p:cNvPr>
          <p:cNvPicPr preferRelativeResize="0">
            <a:picLocks/>
          </p:cNvPicPr>
          <p:nvPr/>
        </p:nvPicPr>
        <p:blipFill rotWithShape="1">
          <a:blip r:embed="rId5" cstate="print">
            <a:lum bright="70000" contrast="-70000"/>
            <a:extLst>
              <a:ext uri="{28A0092B-C50C-407E-A947-70E740481C1C}">
                <a14:useLocalDpi xmlns:a14="http://schemas.microsoft.com/office/drawing/2010/main" val="0"/>
              </a:ext>
            </a:extLst>
          </a:blip>
          <a:srcRect/>
          <a:stretch/>
        </p:blipFill>
        <p:spPr>
          <a:xfrm flipH="1">
            <a:off x="6199151" y="1172542"/>
            <a:ext cx="4059936" cy="5221224"/>
          </a:xfrm>
          <a:prstGeom prst="rect">
            <a:avLst/>
          </a:prstGeom>
          <a:solidFill>
            <a:schemeClr val="bg1">
              <a:lumMod val="95000"/>
            </a:schemeClr>
          </a:solidFill>
          <a:ln>
            <a:noFill/>
          </a:ln>
          <a:effectLst/>
        </p:spPr>
      </p:pic>
      <p:sp>
        <p:nvSpPr>
          <p:cNvPr id="3" name="Rectangle 2">
            <a:extLst>
              <a:ext uri="{FF2B5EF4-FFF2-40B4-BE49-F238E27FC236}">
                <a16:creationId xmlns:a16="http://schemas.microsoft.com/office/drawing/2014/main" id="{FFABD910-F4AA-3E60-7302-29A885790DE5}"/>
              </a:ext>
            </a:extLst>
          </p:cNvPr>
          <p:cNvSpPr/>
          <p:nvPr/>
        </p:nvSpPr>
        <p:spPr bwMode="auto">
          <a:xfrm>
            <a:off x="2124878" y="1164814"/>
            <a:ext cx="4064000" cy="5217887"/>
          </a:xfrm>
          <a:prstGeom prst="rect">
            <a:avLst/>
          </a:prstGeom>
          <a:solidFill>
            <a:srgbClr val="58595B"/>
          </a:solidFill>
          <a:ln w="9525">
            <a:noFill/>
            <a:round/>
            <a:headEnd/>
            <a:tailEnd/>
          </a:ln>
        </p:spPr>
        <p:txBody>
          <a:bodyPr vert="horz" wrap="square" lIns="121920" tIns="60960" rIns="121920" bIns="60960" numCol="1" rtlCol="0" anchor="t" anchorCtr="0" compatLnSpc="1">
            <a:prstTxWarp prst="textNoShape">
              <a:avLst/>
            </a:prstTxWarp>
          </a:bodyPr>
          <a:lstStyle/>
          <a:p>
            <a:pPr algn="ctr" defTabSz="914332">
              <a:defRPr/>
            </a:pPr>
            <a:endParaRPr lang="en-US" sz="2400" dirty="0">
              <a:solidFill>
                <a:srgbClr val="242425"/>
              </a:solidFill>
              <a:latin typeface="Fira Sans Book"/>
            </a:endParaRPr>
          </a:p>
        </p:txBody>
      </p:sp>
      <p:sp>
        <p:nvSpPr>
          <p:cNvPr id="5" name="Title 1">
            <a:extLst>
              <a:ext uri="{FF2B5EF4-FFF2-40B4-BE49-F238E27FC236}">
                <a16:creationId xmlns:a16="http://schemas.microsoft.com/office/drawing/2014/main" id="{57DD5537-6B23-C0CE-E8C8-32278DA3496F}"/>
              </a:ext>
            </a:extLst>
          </p:cNvPr>
          <p:cNvSpPr>
            <a:spLocks noGrp="1"/>
          </p:cNvSpPr>
          <p:nvPr>
            <p:ph type="ctrTitle"/>
          </p:nvPr>
        </p:nvSpPr>
        <p:spPr>
          <a:xfrm>
            <a:off x="391160" y="190008"/>
            <a:ext cx="11409680" cy="477837"/>
          </a:xfrm>
        </p:spPr>
        <p:txBody>
          <a:bodyPr/>
          <a:lstStyle/>
          <a:p>
            <a:pPr defTabSz="1219080">
              <a:defRPr/>
            </a:pPr>
            <a:r>
              <a:rPr lang="en-US" sz="2400" dirty="0">
                <a:solidFill>
                  <a:srgbClr val="58595B"/>
                </a:solidFill>
                <a:latin typeface="Fira Sans Book"/>
              </a:rPr>
              <a:t>Build a POV for Root Cause Analysis of Excess and Obsolete Inventory </a:t>
            </a:r>
            <a:endParaRPr lang="en-IN" sz="2400" dirty="0"/>
          </a:p>
        </p:txBody>
      </p:sp>
      <p:sp>
        <p:nvSpPr>
          <p:cNvPr id="6" name="Freeform 19">
            <a:extLst>
              <a:ext uri="{FF2B5EF4-FFF2-40B4-BE49-F238E27FC236}">
                <a16:creationId xmlns:a16="http://schemas.microsoft.com/office/drawing/2014/main" id="{C19ACD06-259B-46E5-AE42-8FA4AFB8142F}"/>
              </a:ext>
            </a:extLst>
          </p:cNvPr>
          <p:cNvSpPr>
            <a:spLocks noEditPoints="1"/>
          </p:cNvSpPr>
          <p:nvPr/>
        </p:nvSpPr>
        <p:spPr bwMode="auto">
          <a:xfrm>
            <a:off x="2244050" y="1332205"/>
            <a:ext cx="487680" cy="724757"/>
          </a:xfrm>
          <a:custGeom>
            <a:avLst/>
            <a:gdLst/>
            <a:ahLst/>
            <a:cxnLst>
              <a:cxn ang="0">
                <a:pos x="198" y="91"/>
              </a:cxn>
              <a:cxn ang="0">
                <a:pos x="148" y="116"/>
              </a:cxn>
              <a:cxn ang="0">
                <a:pos x="110" y="157"/>
              </a:cxn>
              <a:cxn ang="0">
                <a:pos x="89" y="210"/>
              </a:cxn>
              <a:cxn ang="0">
                <a:pos x="89" y="268"/>
              </a:cxn>
              <a:cxn ang="0">
                <a:pos x="110" y="321"/>
              </a:cxn>
              <a:cxn ang="0">
                <a:pos x="148" y="361"/>
              </a:cxn>
              <a:cxn ang="0">
                <a:pos x="198" y="387"/>
              </a:cxn>
              <a:cxn ang="0">
                <a:pos x="257" y="392"/>
              </a:cxn>
              <a:cxn ang="0">
                <a:pos x="312" y="376"/>
              </a:cxn>
              <a:cxn ang="0">
                <a:pos x="357" y="343"/>
              </a:cxn>
              <a:cxn ang="0">
                <a:pos x="386" y="295"/>
              </a:cxn>
              <a:cxn ang="0">
                <a:pos x="397" y="239"/>
              </a:cxn>
              <a:cxn ang="0">
                <a:pos x="386" y="182"/>
              </a:cxn>
              <a:cxn ang="0">
                <a:pos x="357" y="135"/>
              </a:cxn>
              <a:cxn ang="0">
                <a:pos x="312" y="101"/>
              </a:cxn>
              <a:cxn ang="0">
                <a:pos x="257" y="86"/>
              </a:cxn>
              <a:cxn ang="0">
                <a:pos x="279" y="3"/>
              </a:cxn>
              <a:cxn ang="0">
                <a:pos x="348" y="24"/>
              </a:cxn>
              <a:cxn ang="0">
                <a:pos x="407" y="64"/>
              </a:cxn>
              <a:cxn ang="0">
                <a:pos x="451" y="118"/>
              </a:cxn>
              <a:cxn ang="0">
                <a:pos x="477" y="184"/>
              </a:cxn>
              <a:cxn ang="0">
                <a:pos x="483" y="254"/>
              </a:cxn>
              <a:cxn ang="0">
                <a:pos x="474" y="313"/>
              </a:cxn>
              <a:cxn ang="0">
                <a:pos x="455" y="373"/>
              </a:cxn>
              <a:cxn ang="0">
                <a:pos x="428" y="432"/>
              </a:cxn>
              <a:cxn ang="0">
                <a:pos x="389" y="501"/>
              </a:cxn>
              <a:cxn ang="0">
                <a:pos x="356" y="552"/>
              </a:cxn>
              <a:cxn ang="0">
                <a:pos x="324" y="595"/>
              </a:cxn>
              <a:cxn ang="0">
                <a:pos x="296" y="631"/>
              </a:cxn>
              <a:cxn ang="0">
                <a:pos x="275" y="656"/>
              </a:cxn>
              <a:cxn ang="0">
                <a:pos x="263" y="669"/>
              </a:cxn>
              <a:cxn ang="0">
                <a:pos x="254" y="677"/>
              </a:cxn>
              <a:cxn ang="0">
                <a:pos x="237" y="679"/>
              </a:cxn>
              <a:cxn ang="0">
                <a:pos x="226" y="671"/>
              </a:cxn>
              <a:cxn ang="0">
                <a:pos x="220" y="664"/>
              </a:cxn>
              <a:cxn ang="0">
                <a:pos x="203" y="644"/>
              </a:cxn>
              <a:cxn ang="0">
                <a:pos x="177" y="614"/>
              </a:cxn>
              <a:cxn ang="0">
                <a:pos x="147" y="574"/>
              </a:cxn>
              <a:cxn ang="0">
                <a:pos x="113" y="527"/>
              </a:cxn>
              <a:cxn ang="0">
                <a:pos x="80" y="475"/>
              </a:cxn>
              <a:cxn ang="0">
                <a:pos x="49" y="418"/>
              </a:cxn>
              <a:cxn ang="0">
                <a:pos x="24" y="358"/>
              </a:cxn>
              <a:cxn ang="0">
                <a:pos x="7" y="298"/>
              </a:cxn>
              <a:cxn ang="0">
                <a:pos x="0" y="249"/>
              </a:cxn>
              <a:cxn ang="0">
                <a:pos x="6" y="184"/>
              </a:cxn>
              <a:cxn ang="0">
                <a:pos x="33" y="118"/>
              </a:cxn>
              <a:cxn ang="0">
                <a:pos x="77" y="64"/>
              </a:cxn>
              <a:cxn ang="0">
                <a:pos x="135" y="24"/>
              </a:cxn>
              <a:cxn ang="0">
                <a:pos x="205" y="3"/>
              </a:cxn>
            </a:cxnLst>
            <a:rect l="0" t="0" r="r" b="b"/>
            <a:pathLst>
              <a:path w="484" h="681">
                <a:moveTo>
                  <a:pt x="242" y="85"/>
                </a:moveTo>
                <a:lnTo>
                  <a:pt x="227" y="86"/>
                </a:lnTo>
                <a:lnTo>
                  <a:pt x="212" y="88"/>
                </a:lnTo>
                <a:lnTo>
                  <a:pt x="198" y="91"/>
                </a:lnTo>
                <a:lnTo>
                  <a:pt x="185" y="96"/>
                </a:lnTo>
                <a:lnTo>
                  <a:pt x="172" y="101"/>
                </a:lnTo>
                <a:lnTo>
                  <a:pt x="159" y="108"/>
                </a:lnTo>
                <a:lnTo>
                  <a:pt x="148" y="116"/>
                </a:lnTo>
                <a:lnTo>
                  <a:pt x="137" y="125"/>
                </a:lnTo>
                <a:lnTo>
                  <a:pt x="127" y="135"/>
                </a:lnTo>
                <a:lnTo>
                  <a:pt x="118" y="146"/>
                </a:lnTo>
                <a:lnTo>
                  <a:pt x="110" y="157"/>
                </a:lnTo>
                <a:lnTo>
                  <a:pt x="103" y="169"/>
                </a:lnTo>
                <a:lnTo>
                  <a:pt x="97" y="182"/>
                </a:lnTo>
                <a:lnTo>
                  <a:pt x="93" y="196"/>
                </a:lnTo>
                <a:lnTo>
                  <a:pt x="89" y="210"/>
                </a:lnTo>
                <a:lnTo>
                  <a:pt x="87" y="224"/>
                </a:lnTo>
                <a:lnTo>
                  <a:pt x="86" y="239"/>
                </a:lnTo>
                <a:lnTo>
                  <a:pt x="87" y="254"/>
                </a:lnTo>
                <a:lnTo>
                  <a:pt x="89" y="268"/>
                </a:lnTo>
                <a:lnTo>
                  <a:pt x="93" y="282"/>
                </a:lnTo>
                <a:lnTo>
                  <a:pt x="97" y="295"/>
                </a:lnTo>
                <a:lnTo>
                  <a:pt x="103" y="308"/>
                </a:lnTo>
                <a:lnTo>
                  <a:pt x="110" y="321"/>
                </a:lnTo>
                <a:lnTo>
                  <a:pt x="118" y="332"/>
                </a:lnTo>
                <a:lnTo>
                  <a:pt x="127" y="343"/>
                </a:lnTo>
                <a:lnTo>
                  <a:pt x="137" y="352"/>
                </a:lnTo>
                <a:lnTo>
                  <a:pt x="148" y="361"/>
                </a:lnTo>
                <a:lnTo>
                  <a:pt x="159" y="369"/>
                </a:lnTo>
                <a:lnTo>
                  <a:pt x="172" y="376"/>
                </a:lnTo>
                <a:lnTo>
                  <a:pt x="185" y="382"/>
                </a:lnTo>
                <a:lnTo>
                  <a:pt x="198" y="387"/>
                </a:lnTo>
                <a:lnTo>
                  <a:pt x="212" y="390"/>
                </a:lnTo>
                <a:lnTo>
                  <a:pt x="227" y="392"/>
                </a:lnTo>
                <a:lnTo>
                  <a:pt x="242" y="393"/>
                </a:lnTo>
                <a:lnTo>
                  <a:pt x="257" y="392"/>
                </a:lnTo>
                <a:lnTo>
                  <a:pt x="271" y="390"/>
                </a:lnTo>
                <a:lnTo>
                  <a:pt x="286" y="387"/>
                </a:lnTo>
                <a:lnTo>
                  <a:pt x="299" y="382"/>
                </a:lnTo>
                <a:lnTo>
                  <a:pt x="312" y="376"/>
                </a:lnTo>
                <a:lnTo>
                  <a:pt x="324" y="369"/>
                </a:lnTo>
                <a:lnTo>
                  <a:pt x="336" y="361"/>
                </a:lnTo>
                <a:lnTo>
                  <a:pt x="347" y="352"/>
                </a:lnTo>
                <a:lnTo>
                  <a:pt x="357" y="343"/>
                </a:lnTo>
                <a:lnTo>
                  <a:pt x="366" y="332"/>
                </a:lnTo>
                <a:lnTo>
                  <a:pt x="374" y="321"/>
                </a:lnTo>
                <a:lnTo>
                  <a:pt x="381" y="308"/>
                </a:lnTo>
                <a:lnTo>
                  <a:pt x="386" y="295"/>
                </a:lnTo>
                <a:lnTo>
                  <a:pt x="391" y="282"/>
                </a:lnTo>
                <a:lnTo>
                  <a:pt x="395" y="268"/>
                </a:lnTo>
                <a:lnTo>
                  <a:pt x="397" y="254"/>
                </a:lnTo>
                <a:lnTo>
                  <a:pt x="397" y="239"/>
                </a:lnTo>
                <a:lnTo>
                  <a:pt x="397" y="224"/>
                </a:lnTo>
                <a:lnTo>
                  <a:pt x="395" y="210"/>
                </a:lnTo>
                <a:lnTo>
                  <a:pt x="391" y="196"/>
                </a:lnTo>
                <a:lnTo>
                  <a:pt x="386" y="182"/>
                </a:lnTo>
                <a:lnTo>
                  <a:pt x="381" y="169"/>
                </a:lnTo>
                <a:lnTo>
                  <a:pt x="374" y="157"/>
                </a:lnTo>
                <a:lnTo>
                  <a:pt x="366" y="146"/>
                </a:lnTo>
                <a:lnTo>
                  <a:pt x="357" y="135"/>
                </a:lnTo>
                <a:lnTo>
                  <a:pt x="347" y="125"/>
                </a:lnTo>
                <a:lnTo>
                  <a:pt x="336" y="116"/>
                </a:lnTo>
                <a:lnTo>
                  <a:pt x="324" y="108"/>
                </a:lnTo>
                <a:lnTo>
                  <a:pt x="312" y="101"/>
                </a:lnTo>
                <a:lnTo>
                  <a:pt x="299" y="96"/>
                </a:lnTo>
                <a:lnTo>
                  <a:pt x="286" y="91"/>
                </a:lnTo>
                <a:lnTo>
                  <a:pt x="271" y="88"/>
                </a:lnTo>
                <a:lnTo>
                  <a:pt x="257" y="86"/>
                </a:lnTo>
                <a:lnTo>
                  <a:pt x="242" y="85"/>
                </a:lnTo>
                <a:close/>
                <a:moveTo>
                  <a:pt x="242" y="0"/>
                </a:moveTo>
                <a:lnTo>
                  <a:pt x="261" y="0"/>
                </a:lnTo>
                <a:lnTo>
                  <a:pt x="279" y="3"/>
                </a:lnTo>
                <a:lnTo>
                  <a:pt x="297" y="6"/>
                </a:lnTo>
                <a:lnTo>
                  <a:pt x="315" y="11"/>
                </a:lnTo>
                <a:lnTo>
                  <a:pt x="332" y="17"/>
                </a:lnTo>
                <a:lnTo>
                  <a:pt x="348" y="24"/>
                </a:lnTo>
                <a:lnTo>
                  <a:pt x="364" y="32"/>
                </a:lnTo>
                <a:lnTo>
                  <a:pt x="379" y="42"/>
                </a:lnTo>
                <a:lnTo>
                  <a:pt x="393" y="52"/>
                </a:lnTo>
                <a:lnTo>
                  <a:pt x="407" y="64"/>
                </a:lnTo>
                <a:lnTo>
                  <a:pt x="419" y="76"/>
                </a:lnTo>
                <a:lnTo>
                  <a:pt x="431" y="89"/>
                </a:lnTo>
                <a:lnTo>
                  <a:pt x="441" y="103"/>
                </a:lnTo>
                <a:lnTo>
                  <a:pt x="451" y="118"/>
                </a:lnTo>
                <a:lnTo>
                  <a:pt x="459" y="134"/>
                </a:lnTo>
                <a:lnTo>
                  <a:pt x="466" y="150"/>
                </a:lnTo>
                <a:lnTo>
                  <a:pt x="473" y="167"/>
                </a:lnTo>
                <a:lnTo>
                  <a:pt x="477" y="184"/>
                </a:lnTo>
                <a:lnTo>
                  <a:pt x="481" y="202"/>
                </a:lnTo>
                <a:lnTo>
                  <a:pt x="483" y="220"/>
                </a:lnTo>
                <a:lnTo>
                  <a:pt x="484" y="239"/>
                </a:lnTo>
                <a:lnTo>
                  <a:pt x="483" y="254"/>
                </a:lnTo>
                <a:lnTo>
                  <a:pt x="482" y="268"/>
                </a:lnTo>
                <a:lnTo>
                  <a:pt x="480" y="283"/>
                </a:lnTo>
                <a:lnTo>
                  <a:pt x="477" y="298"/>
                </a:lnTo>
                <a:lnTo>
                  <a:pt x="474" y="313"/>
                </a:lnTo>
                <a:lnTo>
                  <a:pt x="470" y="328"/>
                </a:lnTo>
                <a:lnTo>
                  <a:pt x="465" y="343"/>
                </a:lnTo>
                <a:lnTo>
                  <a:pt x="460" y="358"/>
                </a:lnTo>
                <a:lnTo>
                  <a:pt x="455" y="373"/>
                </a:lnTo>
                <a:lnTo>
                  <a:pt x="449" y="388"/>
                </a:lnTo>
                <a:lnTo>
                  <a:pt x="442" y="403"/>
                </a:lnTo>
                <a:lnTo>
                  <a:pt x="435" y="417"/>
                </a:lnTo>
                <a:lnTo>
                  <a:pt x="428" y="432"/>
                </a:lnTo>
                <a:lnTo>
                  <a:pt x="421" y="446"/>
                </a:lnTo>
                <a:lnTo>
                  <a:pt x="405" y="474"/>
                </a:lnTo>
                <a:lnTo>
                  <a:pt x="397" y="488"/>
                </a:lnTo>
                <a:lnTo>
                  <a:pt x="389" y="501"/>
                </a:lnTo>
                <a:lnTo>
                  <a:pt x="381" y="514"/>
                </a:lnTo>
                <a:lnTo>
                  <a:pt x="372" y="527"/>
                </a:lnTo>
                <a:lnTo>
                  <a:pt x="364" y="540"/>
                </a:lnTo>
                <a:lnTo>
                  <a:pt x="356" y="552"/>
                </a:lnTo>
                <a:lnTo>
                  <a:pt x="347" y="563"/>
                </a:lnTo>
                <a:lnTo>
                  <a:pt x="339" y="574"/>
                </a:lnTo>
                <a:lnTo>
                  <a:pt x="331" y="585"/>
                </a:lnTo>
                <a:lnTo>
                  <a:pt x="324" y="595"/>
                </a:lnTo>
                <a:lnTo>
                  <a:pt x="316" y="605"/>
                </a:lnTo>
                <a:lnTo>
                  <a:pt x="309" y="614"/>
                </a:lnTo>
                <a:lnTo>
                  <a:pt x="302" y="623"/>
                </a:lnTo>
                <a:lnTo>
                  <a:pt x="296" y="631"/>
                </a:lnTo>
                <a:lnTo>
                  <a:pt x="290" y="638"/>
                </a:lnTo>
                <a:lnTo>
                  <a:pt x="284" y="644"/>
                </a:lnTo>
                <a:lnTo>
                  <a:pt x="279" y="650"/>
                </a:lnTo>
                <a:lnTo>
                  <a:pt x="275" y="656"/>
                </a:lnTo>
                <a:lnTo>
                  <a:pt x="271" y="660"/>
                </a:lnTo>
                <a:lnTo>
                  <a:pt x="267" y="664"/>
                </a:lnTo>
                <a:lnTo>
                  <a:pt x="265" y="667"/>
                </a:lnTo>
                <a:lnTo>
                  <a:pt x="263" y="669"/>
                </a:lnTo>
                <a:lnTo>
                  <a:pt x="261" y="670"/>
                </a:lnTo>
                <a:lnTo>
                  <a:pt x="261" y="671"/>
                </a:lnTo>
                <a:lnTo>
                  <a:pt x="257" y="674"/>
                </a:lnTo>
                <a:lnTo>
                  <a:pt x="254" y="677"/>
                </a:lnTo>
                <a:lnTo>
                  <a:pt x="250" y="679"/>
                </a:lnTo>
                <a:lnTo>
                  <a:pt x="250" y="679"/>
                </a:lnTo>
                <a:lnTo>
                  <a:pt x="244" y="681"/>
                </a:lnTo>
                <a:lnTo>
                  <a:pt x="237" y="679"/>
                </a:lnTo>
                <a:lnTo>
                  <a:pt x="237" y="679"/>
                </a:lnTo>
                <a:lnTo>
                  <a:pt x="233" y="677"/>
                </a:lnTo>
                <a:lnTo>
                  <a:pt x="230" y="674"/>
                </a:lnTo>
                <a:lnTo>
                  <a:pt x="226" y="671"/>
                </a:lnTo>
                <a:lnTo>
                  <a:pt x="226" y="670"/>
                </a:lnTo>
                <a:lnTo>
                  <a:pt x="225" y="669"/>
                </a:lnTo>
                <a:lnTo>
                  <a:pt x="223" y="667"/>
                </a:lnTo>
                <a:lnTo>
                  <a:pt x="220" y="664"/>
                </a:lnTo>
                <a:lnTo>
                  <a:pt x="217" y="660"/>
                </a:lnTo>
                <a:lnTo>
                  <a:pt x="213" y="656"/>
                </a:lnTo>
                <a:lnTo>
                  <a:pt x="208" y="650"/>
                </a:lnTo>
                <a:lnTo>
                  <a:pt x="203" y="644"/>
                </a:lnTo>
                <a:lnTo>
                  <a:pt x="197" y="638"/>
                </a:lnTo>
                <a:lnTo>
                  <a:pt x="191" y="631"/>
                </a:lnTo>
                <a:lnTo>
                  <a:pt x="184" y="623"/>
                </a:lnTo>
                <a:lnTo>
                  <a:pt x="177" y="614"/>
                </a:lnTo>
                <a:lnTo>
                  <a:pt x="170" y="605"/>
                </a:lnTo>
                <a:lnTo>
                  <a:pt x="163" y="595"/>
                </a:lnTo>
                <a:lnTo>
                  <a:pt x="155" y="585"/>
                </a:lnTo>
                <a:lnTo>
                  <a:pt x="147" y="574"/>
                </a:lnTo>
                <a:lnTo>
                  <a:pt x="139" y="563"/>
                </a:lnTo>
                <a:lnTo>
                  <a:pt x="130" y="552"/>
                </a:lnTo>
                <a:lnTo>
                  <a:pt x="122" y="540"/>
                </a:lnTo>
                <a:lnTo>
                  <a:pt x="113" y="527"/>
                </a:lnTo>
                <a:lnTo>
                  <a:pt x="105" y="515"/>
                </a:lnTo>
                <a:lnTo>
                  <a:pt x="96" y="502"/>
                </a:lnTo>
                <a:lnTo>
                  <a:pt x="88" y="488"/>
                </a:lnTo>
                <a:lnTo>
                  <a:pt x="80" y="475"/>
                </a:lnTo>
                <a:lnTo>
                  <a:pt x="72" y="461"/>
                </a:lnTo>
                <a:lnTo>
                  <a:pt x="64" y="447"/>
                </a:lnTo>
                <a:lnTo>
                  <a:pt x="57" y="432"/>
                </a:lnTo>
                <a:lnTo>
                  <a:pt x="49" y="418"/>
                </a:lnTo>
                <a:lnTo>
                  <a:pt x="42" y="403"/>
                </a:lnTo>
                <a:lnTo>
                  <a:pt x="36" y="388"/>
                </a:lnTo>
                <a:lnTo>
                  <a:pt x="30" y="373"/>
                </a:lnTo>
                <a:lnTo>
                  <a:pt x="24" y="358"/>
                </a:lnTo>
                <a:lnTo>
                  <a:pt x="19" y="343"/>
                </a:lnTo>
                <a:lnTo>
                  <a:pt x="14" y="328"/>
                </a:lnTo>
                <a:lnTo>
                  <a:pt x="10" y="313"/>
                </a:lnTo>
                <a:lnTo>
                  <a:pt x="7" y="298"/>
                </a:lnTo>
                <a:lnTo>
                  <a:pt x="4" y="283"/>
                </a:lnTo>
                <a:lnTo>
                  <a:pt x="2" y="269"/>
                </a:lnTo>
                <a:lnTo>
                  <a:pt x="1" y="259"/>
                </a:lnTo>
                <a:lnTo>
                  <a:pt x="0" y="249"/>
                </a:lnTo>
                <a:lnTo>
                  <a:pt x="0" y="239"/>
                </a:lnTo>
                <a:lnTo>
                  <a:pt x="1" y="220"/>
                </a:lnTo>
                <a:lnTo>
                  <a:pt x="3" y="202"/>
                </a:lnTo>
                <a:lnTo>
                  <a:pt x="6" y="184"/>
                </a:lnTo>
                <a:lnTo>
                  <a:pt x="11" y="167"/>
                </a:lnTo>
                <a:lnTo>
                  <a:pt x="17" y="150"/>
                </a:lnTo>
                <a:lnTo>
                  <a:pt x="25" y="134"/>
                </a:lnTo>
                <a:lnTo>
                  <a:pt x="33" y="118"/>
                </a:lnTo>
                <a:lnTo>
                  <a:pt x="42" y="103"/>
                </a:lnTo>
                <a:lnTo>
                  <a:pt x="53" y="89"/>
                </a:lnTo>
                <a:lnTo>
                  <a:pt x="65" y="76"/>
                </a:lnTo>
                <a:lnTo>
                  <a:pt x="77" y="64"/>
                </a:lnTo>
                <a:lnTo>
                  <a:pt x="90" y="52"/>
                </a:lnTo>
                <a:lnTo>
                  <a:pt x="105" y="42"/>
                </a:lnTo>
                <a:lnTo>
                  <a:pt x="120" y="32"/>
                </a:lnTo>
                <a:lnTo>
                  <a:pt x="135" y="24"/>
                </a:lnTo>
                <a:lnTo>
                  <a:pt x="152" y="17"/>
                </a:lnTo>
                <a:lnTo>
                  <a:pt x="169" y="11"/>
                </a:lnTo>
                <a:lnTo>
                  <a:pt x="186" y="6"/>
                </a:lnTo>
                <a:lnTo>
                  <a:pt x="205" y="3"/>
                </a:lnTo>
                <a:lnTo>
                  <a:pt x="223" y="0"/>
                </a:lnTo>
                <a:lnTo>
                  <a:pt x="242" y="0"/>
                </a:ln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080">
              <a:defRPr/>
            </a:pPr>
            <a:endParaRPr lang="en-US" sz="2400" dirty="0">
              <a:solidFill>
                <a:srgbClr val="242425"/>
              </a:solidFill>
              <a:latin typeface="Fira Sans Book"/>
            </a:endParaRPr>
          </a:p>
        </p:txBody>
      </p:sp>
      <p:sp>
        <p:nvSpPr>
          <p:cNvPr id="7" name="Title 2">
            <a:extLst>
              <a:ext uri="{FF2B5EF4-FFF2-40B4-BE49-F238E27FC236}">
                <a16:creationId xmlns:a16="http://schemas.microsoft.com/office/drawing/2014/main" id="{00BF25BB-F10C-B12C-DF77-17BD61E0A253}"/>
              </a:ext>
            </a:extLst>
          </p:cNvPr>
          <p:cNvSpPr txBox="1">
            <a:spLocks/>
          </p:cNvSpPr>
          <p:nvPr/>
        </p:nvSpPr>
        <p:spPr>
          <a:xfrm>
            <a:off x="2918465" y="1504157"/>
            <a:ext cx="2286000" cy="369332"/>
          </a:xfrm>
          <a:prstGeom prst="rect">
            <a:avLst/>
          </a:prstGeom>
        </p:spPr>
        <p:txBody>
          <a:bodyPr wrap="square" lIns="0" tIns="0" rIns="0" bIns="0" anchor="ctr">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1219080">
              <a:defRPr/>
            </a:pPr>
            <a:r>
              <a:rPr lang="en-US" sz="2400" b="1" dirty="0">
                <a:solidFill>
                  <a:schemeClr val="bg1"/>
                </a:solidFill>
                <a:latin typeface="Fira Sans Book"/>
              </a:rPr>
              <a:t>Situation</a:t>
            </a:r>
            <a:endParaRPr lang="en-US" sz="1600" b="1" dirty="0">
              <a:solidFill>
                <a:schemeClr val="bg1"/>
              </a:solidFill>
              <a:latin typeface="Fira Sans Book"/>
            </a:endParaRPr>
          </a:p>
        </p:txBody>
      </p:sp>
      <p:sp>
        <p:nvSpPr>
          <p:cNvPr id="8" name="Footer Text">
            <a:extLst>
              <a:ext uri="{FF2B5EF4-FFF2-40B4-BE49-F238E27FC236}">
                <a16:creationId xmlns:a16="http://schemas.microsoft.com/office/drawing/2014/main" id="{43573149-B4ED-8EA2-B68A-C8D5CA930DA8}"/>
              </a:ext>
            </a:extLst>
          </p:cNvPr>
          <p:cNvSpPr txBox="1"/>
          <p:nvPr/>
        </p:nvSpPr>
        <p:spPr>
          <a:xfrm>
            <a:off x="2286481" y="2801624"/>
            <a:ext cx="3760271" cy="2800767"/>
          </a:xfrm>
          <a:prstGeom prst="rect">
            <a:avLst/>
          </a:prstGeom>
          <a:noFill/>
        </p:spPr>
        <p:txBody>
          <a:bodyPr wrap="square" lIns="0" tIns="0" rIns="0" bIns="0" rtlCol="0">
            <a:spAutoFit/>
          </a:bodyPr>
          <a:lstStyle/>
          <a:p>
            <a:pPr marL="148159" indent="-148159" defTabSz="1219140">
              <a:buFont typeface="Arial" panose="020B0604020202020204" pitchFamily="34" charset="0"/>
              <a:buChar char="•"/>
            </a:pPr>
            <a:r>
              <a:rPr lang="en-US" sz="1400" dirty="0">
                <a:solidFill>
                  <a:schemeClr val="bg1"/>
                </a:solidFill>
              </a:rPr>
              <a:t>Client: One of the leading chemical companies globally</a:t>
            </a:r>
          </a:p>
          <a:p>
            <a:pPr marL="148159" indent="-148159" defTabSz="1219140">
              <a:buFont typeface="Arial" panose="020B0604020202020204" pitchFamily="34" charset="0"/>
              <a:buChar char="•"/>
            </a:pPr>
            <a:endParaRPr lang="en-US" sz="1400" dirty="0">
              <a:solidFill>
                <a:schemeClr val="bg1"/>
              </a:solidFill>
            </a:endParaRPr>
          </a:p>
          <a:p>
            <a:pPr marL="148159" indent="-148159" defTabSz="1219140">
              <a:buFont typeface="Arial" panose="020B0604020202020204" pitchFamily="34" charset="0"/>
              <a:buChar char="•"/>
            </a:pPr>
            <a:r>
              <a:rPr lang="en-US" sz="1400" dirty="0">
                <a:solidFill>
                  <a:schemeClr val="bg1"/>
                </a:solidFill>
              </a:rPr>
              <a:t>Client has significant excess and obsolete inventory which is eating into the margins</a:t>
            </a:r>
          </a:p>
          <a:p>
            <a:pPr marL="148159" indent="-148159" defTabSz="1219140">
              <a:buFont typeface="Arial" panose="020B0604020202020204" pitchFamily="34" charset="0"/>
              <a:buChar char="•"/>
            </a:pPr>
            <a:endParaRPr lang="en-US" sz="1400" dirty="0">
              <a:solidFill>
                <a:schemeClr val="bg1"/>
              </a:solidFill>
            </a:endParaRPr>
          </a:p>
          <a:p>
            <a:pPr marL="148159" indent="-148159" defTabSz="1219140">
              <a:buFont typeface="Arial" panose="020B0604020202020204" pitchFamily="34" charset="0"/>
              <a:buChar char="•"/>
            </a:pPr>
            <a:r>
              <a:rPr lang="en-US" sz="1400" dirty="0">
                <a:solidFill>
                  <a:schemeClr val="bg1"/>
                </a:solidFill>
              </a:rPr>
              <a:t>Currently they have a manual process of identifying the reason for E&amp;O in hindsight and it takes a lot of time and effort in connecting the dots</a:t>
            </a:r>
          </a:p>
          <a:p>
            <a:pPr marL="148159" indent="-148159" defTabSz="1219140">
              <a:buFont typeface="Arial" panose="020B0604020202020204" pitchFamily="34" charset="0"/>
              <a:buChar char="•"/>
            </a:pPr>
            <a:endParaRPr lang="en-US" sz="1400" dirty="0">
              <a:solidFill>
                <a:schemeClr val="bg1"/>
              </a:solidFill>
            </a:endParaRPr>
          </a:p>
          <a:p>
            <a:pPr marL="148159" indent="-148159" defTabSz="1219140">
              <a:buFont typeface="Arial" panose="020B0604020202020204" pitchFamily="34" charset="0"/>
              <a:buChar char="•"/>
            </a:pPr>
            <a:r>
              <a:rPr lang="en-US" sz="1400" dirty="0">
                <a:solidFill>
                  <a:schemeClr val="bg1"/>
                </a:solidFill>
              </a:rPr>
              <a:t>They have a diagnostic report to identify the volume and value of E&amp;O</a:t>
            </a:r>
          </a:p>
        </p:txBody>
      </p:sp>
      <p:grpSp>
        <p:nvGrpSpPr>
          <p:cNvPr id="9" name="Group 8">
            <a:extLst>
              <a:ext uri="{FF2B5EF4-FFF2-40B4-BE49-F238E27FC236}">
                <a16:creationId xmlns:a16="http://schemas.microsoft.com/office/drawing/2014/main" id="{05667394-6030-917E-A7F9-D71985263295}"/>
              </a:ext>
            </a:extLst>
          </p:cNvPr>
          <p:cNvGrpSpPr/>
          <p:nvPr/>
        </p:nvGrpSpPr>
        <p:grpSpPr>
          <a:xfrm>
            <a:off x="6319772" y="1332204"/>
            <a:ext cx="828649" cy="620184"/>
            <a:chOff x="4953000" y="2176463"/>
            <a:chExt cx="1514476" cy="1133475"/>
          </a:xfrm>
          <a:solidFill>
            <a:schemeClr val="tx1"/>
          </a:solidFill>
        </p:grpSpPr>
        <p:sp>
          <p:nvSpPr>
            <p:cNvPr id="10" name="Freeform 16">
              <a:extLst>
                <a:ext uri="{FF2B5EF4-FFF2-40B4-BE49-F238E27FC236}">
                  <a16:creationId xmlns:a16="http://schemas.microsoft.com/office/drawing/2014/main" id="{4E785158-17AD-2B7D-61C5-2B35DBF891B9}"/>
                </a:ext>
              </a:extLst>
            </p:cNvPr>
            <p:cNvSpPr>
              <a:spLocks/>
            </p:cNvSpPr>
            <p:nvPr/>
          </p:nvSpPr>
          <p:spPr bwMode="auto">
            <a:xfrm>
              <a:off x="5503863" y="2176463"/>
              <a:ext cx="412750" cy="1133475"/>
            </a:xfrm>
            <a:custGeom>
              <a:avLst/>
              <a:gdLst>
                <a:gd name="T0" fmla="*/ 846 w 1041"/>
                <a:gd name="T1" fmla="*/ 0 h 2857"/>
                <a:gd name="T2" fmla="*/ 862 w 1041"/>
                <a:gd name="T3" fmla="*/ 3 h 2857"/>
                <a:gd name="T4" fmla="*/ 992 w 1041"/>
                <a:gd name="T5" fmla="*/ 39 h 2857"/>
                <a:gd name="T6" fmla="*/ 1008 w 1041"/>
                <a:gd name="T7" fmla="*/ 46 h 2857"/>
                <a:gd name="T8" fmla="*/ 1022 w 1041"/>
                <a:gd name="T9" fmla="*/ 56 h 2857"/>
                <a:gd name="T10" fmla="*/ 1032 w 1041"/>
                <a:gd name="T11" fmla="*/ 71 h 2857"/>
                <a:gd name="T12" fmla="*/ 1039 w 1041"/>
                <a:gd name="T13" fmla="*/ 87 h 2857"/>
                <a:gd name="T14" fmla="*/ 1041 w 1041"/>
                <a:gd name="T15" fmla="*/ 104 h 2857"/>
                <a:gd name="T16" fmla="*/ 1038 w 1041"/>
                <a:gd name="T17" fmla="*/ 122 h 2857"/>
                <a:gd name="T18" fmla="*/ 260 w 1041"/>
                <a:gd name="T19" fmla="*/ 2808 h 2857"/>
                <a:gd name="T20" fmla="*/ 253 w 1041"/>
                <a:gd name="T21" fmla="*/ 2824 h 2857"/>
                <a:gd name="T22" fmla="*/ 241 w 1041"/>
                <a:gd name="T23" fmla="*/ 2837 h 2857"/>
                <a:gd name="T24" fmla="*/ 227 w 1041"/>
                <a:gd name="T25" fmla="*/ 2847 h 2857"/>
                <a:gd name="T26" fmla="*/ 211 w 1041"/>
                <a:gd name="T27" fmla="*/ 2854 h 2857"/>
                <a:gd name="T28" fmla="*/ 195 w 1041"/>
                <a:gd name="T29" fmla="*/ 2857 h 2857"/>
                <a:gd name="T30" fmla="*/ 178 w 1041"/>
                <a:gd name="T31" fmla="*/ 2853 h 2857"/>
                <a:gd name="T32" fmla="*/ 49 w 1041"/>
                <a:gd name="T33" fmla="*/ 2818 h 2857"/>
                <a:gd name="T34" fmla="*/ 33 w 1041"/>
                <a:gd name="T35" fmla="*/ 2810 h 2857"/>
                <a:gd name="T36" fmla="*/ 19 w 1041"/>
                <a:gd name="T37" fmla="*/ 2800 h 2857"/>
                <a:gd name="T38" fmla="*/ 8 w 1041"/>
                <a:gd name="T39" fmla="*/ 2786 h 2857"/>
                <a:gd name="T40" fmla="*/ 1 w 1041"/>
                <a:gd name="T41" fmla="*/ 2770 h 2857"/>
                <a:gd name="T42" fmla="*/ 0 w 1041"/>
                <a:gd name="T43" fmla="*/ 2752 h 2857"/>
                <a:gd name="T44" fmla="*/ 4 w 1041"/>
                <a:gd name="T45" fmla="*/ 2735 h 2857"/>
                <a:gd name="T46" fmla="*/ 781 w 1041"/>
                <a:gd name="T47" fmla="*/ 49 h 2857"/>
                <a:gd name="T48" fmla="*/ 788 w 1041"/>
                <a:gd name="T49" fmla="*/ 33 h 2857"/>
                <a:gd name="T50" fmla="*/ 800 w 1041"/>
                <a:gd name="T51" fmla="*/ 19 h 2857"/>
                <a:gd name="T52" fmla="*/ 814 w 1041"/>
                <a:gd name="T53" fmla="*/ 8 h 2857"/>
                <a:gd name="T54" fmla="*/ 830 w 1041"/>
                <a:gd name="T55" fmla="*/ 1 h 2857"/>
                <a:gd name="T56" fmla="*/ 846 w 1041"/>
                <a:gd name="T57" fmla="*/ 0 h 2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1" h="2857">
                  <a:moveTo>
                    <a:pt x="846" y="0"/>
                  </a:moveTo>
                  <a:lnTo>
                    <a:pt x="862" y="3"/>
                  </a:lnTo>
                  <a:lnTo>
                    <a:pt x="992" y="39"/>
                  </a:lnTo>
                  <a:lnTo>
                    <a:pt x="1008" y="46"/>
                  </a:lnTo>
                  <a:lnTo>
                    <a:pt x="1022" y="56"/>
                  </a:lnTo>
                  <a:lnTo>
                    <a:pt x="1032" y="71"/>
                  </a:lnTo>
                  <a:lnTo>
                    <a:pt x="1039" y="87"/>
                  </a:lnTo>
                  <a:lnTo>
                    <a:pt x="1041" y="104"/>
                  </a:lnTo>
                  <a:lnTo>
                    <a:pt x="1038" y="122"/>
                  </a:lnTo>
                  <a:lnTo>
                    <a:pt x="260" y="2808"/>
                  </a:lnTo>
                  <a:lnTo>
                    <a:pt x="253" y="2824"/>
                  </a:lnTo>
                  <a:lnTo>
                    <a:pt x="241" y="2837"/>
                  </a:lnTo>
                  <a:lnTo>
                    <a:pt x="227" y="2847"/>
                  </a:lnTo>
                  <a:lnTo>
                    <a:pt x="211" y="2854"/>
                  </a:lnTo>
                  <a:lnTo>
                    <a:pt x="195" y="2857"/>
                  </a:lnTo>
                  <a:lnTo>
                    <a:pt x="178" y="2853"/>
                  </a:lnTo>
                  <a:lnTo>
                    <a:pt x="49" y="2818"/>
                  </a:lnTo>
                  <a:lnTo>
                    <a:pt x="33" y="2810"/>
                  </a:lnTo>
                  <a:lnTo>
                    <a:pt x="19" y="2800"/>
                  </a:lnTo>
                  <a:lnTo>
                    <a:pt x="8" y="2786"/>
                  </a:lnTo>
                  <a:lnTo>
                    <a:pt x="1" y="2770"/>
                  </a:lnTo>
                  <a:lnTo>
                    <a:pt x="0" y="2752"/>
                  </a:lnTo>
                  <a:lnTo>
                    <a:pt x="4" y="2735"/>
                  </a:lnTo>
                  <a:lnTo>
                    <a:pt x="781" y="49"/>
                  </a:lnTo>
                  <a:lnTo>
                    <a:pt x="788" y="33"/>
                  </a:lnTo>
                  <a:lnTo>
                    <a:pt x="800" y="19"/>
                  </a:lnTo>
                  <a:lnTo>
                    <a:pt x="814" y="8"/>
                  </a:lnTo>
                  <a:lnTo>
                    <a:pt x="830" y="1"/>
                  </a:lnTo>
                  <a:lnTo>
                    <a:pt x="846" y="0"/>
                  </a:lnTo>
                  <a:close/>
                </a:path>
              </a:pathLst>
            </a:custGeom>
            <a:solidFill>
              <a:schemeClr val="accent2"/>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080">
                <a:defRPr/>
              </a:pPr>
              <a:endParaRPr lang="en-US" sz="2400" dirty="0">
                <a:solidFill>
                  <a:srgbClr val="242425"/>
                </a:solidFill>
                <a:latin typeface="Fira Sans Book"/>
              </a:endParaRPr>
            </a:p>
          </p:txBody>
        </p:sp>
        <p:sp>
          <p:nvSpPr>
            <p:cNvPr id="11" name="Freeform 17">
              <a:extLst>
                <a:ext uri="{FF2B5EF4-FFF2-40B4-BE49-F238E27FC236}">
                  <a16:creationId xmlns:a16="http://schemas.microsoft.com/office/drawing/2014/main" id="{9B421737-ED93-FF53-BB81-EEC2CF7C6134}"/>
                </a:ext>
              </a:extLst>
            </p:cNvPr>
            <p:cNvSpPr>
              <a:spLocks/>
            </p:cNvSpPr>
            <p:nvPr/>
          </p:nvSpPr>
          <p:spPr bwMode="auto">
            <a:xfrm>
              <a:off x="4953000" y="2332038"/>
              <a:ext cx="481013" cy="823913"/>
            </a:xfrm>
            <a:custGeom>
              <a:avLst/>
              <a:gdLst>
                <a:gd name="T0" fmla="*/ 1040 w 1214"/>
                <a:gd name="T1" fmla="*/ 0 h 2077"/>
                <a:gd name="T2" fmla="*/ 1058 w 1214"/>
                <a:gd name="T3" fmla="*/ 3 h 2077"/>
                <a:gd name="T4" fmla="*/ 1074 w 1214"/>
                <a:gd name="T5" fmla="*/ 10 h 2077"/>
                <a:gd name="T6" fmla="*/ 1089 w 1214"/>
                <a:gd name="T7" fmla="*/ 21 h 2077"/>
                <a:gd name="T8" fmla="*/ 1193 w 1214"/>
                <a:gd name="T9" fmla="*/ 124 h 2077"/>
                <a:gd name="T10" fmla="*/ 1204 w 1214"/>
                <a:gd name="T11" fmla="*/ 140 h 2077"/>
                <a:gd name="T12" fmla="*/ 1211 w 1214"/>
                <a:gd name="T13" fmla="*/ 156 h 2077"/>
                <a:gd name="T14" fmla="*/ 1214 w 1214"/>
                <a:gd name="T15" fmla="*/ 173 h 2077"/>
                <a:gd name="T16" fmla="*/ 1211 w 1214"/>
                <a:gd name="T17" fmla="*/ 191 h 2077"/>
                <a:gd name="T18" fmla="*/ 1204 w 1214"/>
                <a:gd name="T19" fmla="*/ 206 h 2077"/>
                <a:gd name="T20" fmla="*/ 1193 w 1214"/>
                <a:gd name="T21" fmla="*/ 221 h 2077"/>
                <a:gd name="T22" fmla="*/ 374 w 1214"/>
                <a:gd name="T23" fmla="*/ 1038 h 2077"/>
                <a:gd name="T24" fmla="*/ 1193 w 1214"/>
                <a:gd name="T25" fmla="*/ 1856 h 2077"/>
                <a:gd name="T26" fmla="*/ 1204 w 1214"/>
                <a:gd name="T27" fmla="*/ 1870 h 2077"/>
                <a:gd name="T28" fmla="*/ 1211 w 1214"/>
                <a:gd name="T29" fmla="*/ 1886 h 2077"/>
                <a:gd name="T30" fmla="*/ 1214 w 1214"/>
                <a:gd name="T31" fmla="*/ 1904 h 2077"/>
                <a:gd name="T32" fmla="*/ 1211 w 1214"/>
                <a:gd name="T33" fmla="*/ 1921 h 2077"/>
                <a:gd name="T34" fmla="*/ 1204 w 1214"/>
                <a:gd name="T35" fmla="*/ 1937 h 2077"/>
                <a:gd name="T36" fmla="*/ 1193 w 1214"/>
                <a:gd name="T37" fmla="*/ 1951 h 2077"/>
                <a:gd name="T38" fmla="*/ 1089 w 1214"/>
                <a:gd name="T39" fmla="*/ 2056 h 2077"/>
                <a:gd name="T40" fmla="*/ 1074 w 1214"/>
                <a:gd name="T41" fmla="*/ 2067 h 2077"/>
                <a:gd name="T42" fmla="*/ 1058 w 1214"/>
                <a:gd name="T43" fmla="*/ 2074 h 2077"/>
                <a:gd name="T44" fmla="*/ 1040 w 1214"/>
                <a:gd name="T45" fmla="*/ 2077 h 2077"/>
                <a:gd name="T46" fmla="*/ 1023 w 1214"/>
                <a:gd name="T47" fmla="*/ 2074 h 2077"/>
                <a:gd name="T48" fmla="*/ 1008 w 1214"/>
                <a:gd name="T49" fmla="*/ 2067 h 2077"/>
                <a:gd name="T50" fmla="*/ 993 w 1214"/>
                <a:gd name="T51" fmla="*/ 2056 h 2077"/>
                <a:gd name="T52" fmla="*/ 21 w 1214"/>
                <a:gd name="T53" fmla="*/ 1085 h 2077"/>
                <a:gd name="T54" fmla="*/ 9 w 1214"/>
                <a:gd name="T55" fmla="*/ 1072 h 2077"/>
                <a:gd name="T56" fmla="*/ 2 w 1214"/>
                <a:gd name="T57" fmla="*/ 1055 h 2077"/>
                <a:gd name="T58" fmla="*/ 0 w 1214"/>
                <a:gd name="T59" fmla="*/ 1038 h 2077"/>
                <a:gd name="T60" fmla="*/ 2 w 1214"/>
                <a:gd name="T61" fmla="*/ 1020 h 2077"/>
                <a:gd name="T62" fmla="*/ 9 w 1214"/>
                <a:gd name="T63" fmla="*/ 1005 h 2077"/>
                <a:gd name="T64" fmla="*/ 21 w 1214"/>
                <a:gd name="T65" fmla="*/ 990 h 2077"/>
                <a:gd name="T66" fmla="*/ 993 w 1214"/>
                <a:gd name="T67" fmla="*/ 21 h 2077"/>
                <a:gd name="T68" fmla="*/ 1008 w 1214"/>
                <a:gd name="T69" fmla="*/ 10 h 2077"/>
                <a:gd name="T70" fmla="*/ 1023 w 1214"/>
                <a:gd name="T71" fmla="*/ 3 h 2077"/>
                <a:gd name="T72" fmla="*/ 1040 w 1214"/>
                <a:gd name="T73" fmla="*/ 0 h 2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4" h="2077">
                  <a:moveTo>
                    <a:pt x="1040" y="0"/>
                  </a:moveTo>
                  <a:lnTo>
                    <a:pt x="1058" y="3"/>
                  </a:lnTo>
                  <a:lnTo>
                    <a:pt x="1074" y="10"/>
                  </a:lnTo>
                  <a:lnTo>
                    <a:pt x="1089" y="21"/>
                  </a:lnTo>
                  <a:lnTo>
                    <a:pt x="1193" y="124"/>
                  </a:lnTo>
                  <a:lnTo>
                    <a:pt x="1204" y="140"/>
                  </a:lnTo>
                  <a:lnTo>
                    <a:pt x="1211" y="156"/>
                  </a:lnTo>
                  <a:lnTo>
                    <a:pt x="1214" y="173"/>
                  </a:lnTo>
                  <a:lnTo>
                    <a:pt x="1211" y="191"/>
                  </a:lnTo>
                  <a:lnTo>
                    <a:pt x="1204" y="206"/>
                  </a:lnTo>
                  <a:lnTo>
                    <a:pt x="1193" y="221"/>
                  </a:lnTo>
                  <a:lnTo>
                    <a:pt x="374" y="1038"/>
                  </a:lnTo>
                  <a:lnTo>
                    <a:pt x="1193" y="1856"/>
                  </a:lnTo>
                  <a:lnTo>
                    <a:pt x="1204" y="1870"/>
                  </a:lnTo>
                  <a:lnTo>
                    <a:pt x="1211" y="1886"/>
                  </a:lnTo>
                  <a:lnTo>
                    <a:pt x="1214" y="1904"/>
                  </a:lnTo>
                  <a:lnTo>
                    <a:pt x="1211" y="1921"/>
                  </a:lnTo>
                  <a:lnTo>
                    <a:pt x="1204" y="1937"/>
                  </a:lnTo>
                  <a:lnTo>
                    <a:pt x="1193" y="1951"/>
                  </a:lnTo>
                  <a:lnTo>
                    <a:pt x="1089" y="2056"/>
                  </a:lnTo>
                  <a:lnTo>
                    <a:pt x="1074" y="2067"/>
                  </a:lnTo>
                  <a:lnTo>
                    <a:pt x="1058" y="2074"/>
                  </a:lnTo>
                  <a:lnTo>
                    <a:pt x="1040" y="2077"/>
                  </a:lnTo>
                  <a:lnTo>
                    <a:pt x="1023" y="2074"/>
                  </a:lnTo>
                  <a:lnTo>
                    <a:pt x="1008" y="2067"/>
                  </a:lnTo>
                  <a:lnTo>
                    <a:pt x="993" y="2056"/>
                  </a:lnTo>
                  <a:lnTo>
                    <a:pt x="21" y="1085"/>
                  </a:lnTo>
                  <a:lnTo>
                    <a:pt x="9" y="1072"/>
                  </a:lnTo>
                  <a:lnTo>
                    <a:pt x="2" y="1055"/>
                  </a:lnTo>
                  <a:lnTo>
                    <a:pt x="0" y="1038"/>
                  </a:lnTo>
                  <a:lnTo>
                    <a:pt x="2" y="1020"/>
                  </a:lnTo>
                  <a:lnTo>
                    <a:pt x="9" y="1005"/>
                  </a:lnTo>
                  <a:lnTo>
                    <a:pt x="21" y="990"/>
                  </a:lnTo>
                  <a:lnTo>
                    <a:pt x="993" y="21"/>
                  </a:lnTo>
                  <a:lnTo>
                    <a:pt x="1008" y="10"/>
                  </a:lnTo>
                  <a:lnTo>
                    <a:pt x="1023" y="3"/>
                  </a:lnTo>
                  <a:lnTo>
                    <a:pt x="1040" y="0"/>
                  </a:lnTo>
                  <a:close/>
                </a:path>
              </a:pathLst>
            </a:custGeom>
            <a:solidFill>
              <a:schemeClr val="accent2"/>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080">
                <a:defRPr/>
              </a:pPr>
              <a:endParaRPr lang="en-US" sz="2400" dirty="0">
                <a:solidFill>
                  <a:srgbClr val="242425"/>
                </a:solidFill>
                <a:latin typeface="Fira Sans Book"/>
              </a:endParaRPr>
            </a:p>
          </p:txBody>
        </p:sp>
        <p:sp>
          <p:nvSpPr>
            <p:cNvPr id="12" name="Freeform 18">
              <a:extLst>
                <a:ext uri="{FF2B5EF4-FFF2-40B4-BE49-F238E27FC236}">
                  <a16:creationId xmlns:a16="http://schemas.microsoft.com/office/drawing/2014/main" id="{FD8AE304-44B0-B6B1-62D0-9DFB30C6F9C2}"/>
                </a:ext>
              </a:extLst>
            </p:cNvPr>
            <p:cNvSpPr>
              <a:spLocks/>
            </p:cNvSpPr>
            <p:nvPr/>
          </p:nvSpPr>
          <p:spPr bwMode="auto">
            <a:xfrm>
              <a:off x="5986463" y="2332038"/>
              <a:ext cx="481013" cy="823913"/>
            </a:xfrm>
            <a:custGeom>
              <a:avLst/>
              <a:gdLst>
                <a:gd name="T0" fmla="*/ 173 w 1214"/>
                <a:gd name="T1" fmla="*/ 0 h 2077"/>
                <a:gd name="T2" fmla="*/ 191 w 1214"/>
                <a:gd name="T3" fmla="*/ 3 h 2077"/>
                <a:gd name="T4" fmla="*/ 206 w 1214"/>
                <a:gd name="T5" fmla="*/ 10 h 2077"/>
                <a:gd name="T6" fmla="*/ 221 w 1214"/>
                <a:gd name="T7" fmla="*/ 21 h 2077"/>
                <a:gd name="T8" fmla="*/ 1193 w 1214"/>
                <a:gd name="T9" fmla="*/ 990 h 2077"/>
                <a:gd name="T10" fmla="*/ 1204 w 1214"/>
                <a:gd name="T11" fmla="*/ 1004 h 2077"/>
                <a:gd name="T12" fmla="*/ 1211 w 1214"/>
                <a:gd name="T13" fmla="*/ 1020 h 2077"/>
                <a:gd name="T14" fmla="*/ 1214 w 1214"/>
                <a:gd name="T15" fmla="*/ 1038 h 2077"/>
                <a:gd name="T16" fmla="*/ 1211 w 1214"/>
                <a:gd name="T17" fmla="*/ 1055 h 2077"/>
                <a:gd name="T18" fmla="*/ 1204 w 1214"/>
                <a:gd name="T19" fmla="*/ 1072 h 2077"/>
                <a:gd name="T20" fmla="*/ 1193 w 1214"/>
                <a:gd name="T21" fmla="*/ 1085 h 2077"/>
                <a:gd name="T22" fmla="*/ 221 w 1214"/>
                <a:gd name="T23" fmla="*/ 2056 h 2077"/>
                <a:gd name="T24" fmla="*/ 206 w 1214"/>
                <a:gd name="T25" fmla="*/ 2067 h 2077"/>
                <a:gd name="T26" fmla="*/ 191 w 1214"/>
                <a:gd name="T27" fmla="*/ 2074 h 2077"/>
                <a:gd name="T28" fmla="*/ 173 w 1214"/>
                <a:gd name="T29" fmla="*/ 2077 h 2077"/>
                <a:gd name="T30" fmla="*/ 156 w 1214"/>
                <a:gd name="T31" fmla="*/ 2074 h 2077"/>
                <a:gd name="T32" fmla="*/ 140 w 1214"/>
                <a:gd name="T33" fmla="*/ 2067 h 2077"/>
                <a:gd name="T34" fmla="*/ 125 w 1214"/>
                <a:gd name="T35" fmla="*/ 2056 h 2077"/>
                <a:gd name="T36" fmla="*/ 21 w 1214"/>
                <a:gd name="T37" fmla="*/ 1951 h 2077"/>
                <a:gd name="T38" fmla="*/ 9 w 1214"/>
                <a:gd name="T39" fmla="*/ 1937 h 2077"/>
                <a:gd name="T40" fmla="*/ 2 w 1214"/>
                <a:gd name="T41" fmla="*/ 1921 h 2077"/>
                <a:gd name="T42" fmla="*/ 0 w 1214"/>
                <a:gd name="T43" fmla="*/ 1904 h 2077"/>
                <a:gd name="T44" fmla="*/ 2 w 1214"/>
                <a:gd name="T45" fmla="*/ 1886 h 2077"/>
                <a:gd name="T46" fmla="*/ 9 w 1214"/>
                <a:gd name="T47" fmla="*/ 1870 h 2077"/>
                <a:gd name="T48" fmla="*/ 21 w 1214"/>
                <a:gd name="T49" fmla="*/ 1856 h 2077"/>
                <a:gd name="T50" fmla="*/ 840 w 1214"/>
                <a:gd name="T51" fmla="*/ 1038 h 2077"/>
                <a:gd name="T52" fmla="*/ 21 w 1214"/>
                <a:gd name="T53" fmla="*/ 221 h 2077"/>
                <a:gd name="T54" fmla="*/ 9 w 1214"/>
                <a:gd name="T55" fmla="*/ 206 h 2077"/>
                <a:gd name="T56" fmla="*/ 2 w 1214"/>
                <a:gd name="T57" fmla="*/ 191 h 2077"/>
                <a:gd name="T58" fmla="*/ 0 w 1214"/>
                <a:gd name="T59" fmla="*/ 173 h 2077"/>
                <a:gd name="T60" fmla="*/ 2 w 1214"/>
                <a:gd name="T61" fmla="*/ 156 h 2077"/>
                <a:gd name="T62" fmla="*/ 9 w 1214"/>
                <a:gd name="T63" fmla="*/ 140 h 2077"/>
                <a:gd name="T64" fmla="*/ 21 w 1214"/>
                <a:gd name="T65" fmla="*/ 124 h 2077"/>
                <a:gd name="T66" fmla="*/ 125 w 1214"/>
                <a:gd name="T67" fmla="*/ 21 h 2077"/>
                <a:gd name="T68" fmla="*/ 140 w 1214"/>
                <a:gd name="T69" fmla="*/ 10 h 2077"/>
                <a:gd name="T70" fmla="*/ 156 w 1214"/>
                <a:gd name="T71" fmla="*/ 3 h 2077"/>
                <a:gd name="T72" fmla="*/ 173 w 1214"/>
                <a:gd name="T73" fmla="*/ 0 h 2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4" h="2077">
                  <a:moveTo>
                    <a:pt x="173" y="0"/>
                  </a:moveTo>
                  <a:lnTo>
                    <a:pt x="191" y="3"/>
                  </a:lnTo>
                  <a:lnTo>
                    <a:pt x="206" y="10"/>
                  </a:lnTo>
                  <a:lnTo>
                    <a:pt x="221" y="21"/>
                  </a:lnTo>
                  <a:lnTo>
                    <a:pt x="1193" y="990"/>
                  </a:lnTo>
                  <a:lnTo>
                    <a:pt x="1204" y="1004"/>
                  </a:lnTo>
                  <a:lnTo>
                    <a:pt x="1211" y="1020"/>
                  </a:lnTo>
                  <a:lnTo>
                    <a:pt x="1214" y="1038"/>
                  </a:lnTo>
                  <a:lnTo>
                    <a:pt x="1211" y="1055"/>
                  </a:lnTo>
                  <a:lnTo>
                    <a:pt x="1204" y="1072"/>
                  </a:lnTo>
                  <a:lnTo>
                    <a:pt x="1193" y="1085"/>
                  </a:lnTo>
                  <a:lnTo>
                    <a:pt x="221" y="2056"/>
                  </a:lnTo>
                  <a:lnTo>
                    <a:pt x="206" y="2067"/>
                  </a:lnTo>
                  <a:lnTo>
                    <a:pt x="191" y="2074"/>
                  </a:lnTo>
                  <a:lnTo>
                    <a:pt x="173" y="2077"/>
                  </a:lnTo>
                  <a:lnTo>
                    <a:pt x="156" y="2074"/>
                  </a:lnTo>
                  <a:lnTo>
                    <a:pt x="140" y="2067"/>
                  </a:lnTo>
                  <a:lnTo>
                    <a:pt x="125" y="2056"/>
                  </a:lnTo>
                  <a:lnTo>
                    <a:pt x="21" y="1951"/>
                  </a:lnTo>
                  <a:lnTo>
                    <a:pt x="9" y="1937"/>
                  </a:lnTo>
                  <a:lnTo>
                    <a:pt x="2" y="1921"/>
                  </a:lnTo>
                  <a:lnTo>
                    <a:pt x="0" y="1904"/>
                  </a:lnTo>
                  <a:lnTo>
                    <a:pt x="2" y="1886"/>
                  </a:lnTo>
                  <a:lnTo>
                    <a:pt x="9" y="1870"/>
                  </a:lnTo>
                  <a:lnTo>
                    <a:pt x="21" y="1856"/>
                  </a:lnTo>
                  <a:lnTo>
                    <a:pt x="840" y="1038"/>
                  </a:lnTo>
                  <a:lnTo>
                    <a:pt x="21" y="221"/>
                  </a:lnTo>
                  <a:lnTo>
                    <a:pt x="9" y="206"/>
                  </a:lnTo>
                  <a:lnTo>
                    <a:pt x="2" y="191"/>
                  </a:lnTo>
                  <a:lnTo>
                    <a:pt x="0" y="173"/>
                  </a:lnTo>
                  <a:lnTo>
                    <a:pt x="2" y="156"/>
                  </a:lnTo>
                  <a:lnTo>
                    <a:pt x="9" y="140"/>
                  </a:lnTo>
                  <a:lnTo>
                    <a:pt x="21" y="124"/>
                  </a:lnTo>
                  <a:lnTo>
                    <a:pt x="125" y="21"/>
                  </a:lnTo>
                  <a:lnTo>
                    <a:pt x="140" y="10"/>
                  </a:lnTo>
                  <a:lnTo>
                    <a:pt x="156" y="3"/>
                  </a:lnTo>
                  <a:lnTo>
                    <a:pt x="173" y="0"/>
                  </a:lnTo>
                  <a:close/>
                </a:path>
              </a:pathLst>
            </a:custGeom>
            <a:solidFill>
              <a:schemeClr val="accent2"/>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080">
                <a:defRPr/>
              </a:pPr>
              <a:endParaRPr lang="en-US" sz="2400" dirty="0">
                <a:solidFill>
                  <a:srgbClr val="242425"/>
                </a:solidFill>
                <a:latin typeface="Fira Sans Book"/>
              </a:endParaRPr>
            </a:p>
          </p:txBody>
        </p:sp>
      </p:grpSp>
      <p:sp>
        <p:nvSpPr>
          <p:cNvPr id="13" name="Title 2">
            <a:extLst>
              <a:ext uri="{FF2B5EF4-FFF2-40B4-BE49-F238E27FC236}">
                <a16:creationId xmlns:a16="http://schemas.microsoft.com/office/drawing/2014/main" id="{39248AE4-F556-0CDA-A63F-7F938A461DF0}"/>
              </a:ext>
            </a:extLst>
          </p:cNvPr>
          <p:cNvSpPr txBox="1">
            <a:spLocks/>
          </p:cNvSpPr>
          <p:nvPr/>
        </p:nvSpPr>
        <p:spPr>
          <a:xfrm>
            <a:off x="7279307" y="1504157"/>
            <a:ext cx="1371600" cy="369332"/>
          </a:xfrm>
          <a:prstGeom prst="rect">
            <a:avLst/>
          </a:prstGeom>
        </p:spPr>
        <p:txBody>
          <a:bodyPr wrap="square" lIns="0" tIns="0" rIns="0" bIns="0" anchor="ctr">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1219080">
              <a:defRPr/>
            </a:pPr>
            <a:r>
              <a:rPr lang="en-US" sz="2400" b="1" dirty="0">
                <a:solidFill>
                  <a:srgbClr val="242425">
                    <a:lumMod val="75000"/>
                    <a:lumOff val="25000"/>
                  </a:srgbClr>
                </a:solidFill>
                <a:latin typeface="Fira Sans Book"/>
              </a:rPr>
              <a:t>Need</a:t>
            </a:r>
            <a:endParaRPr lang="en-US" sz="1600" b="1" dirty="0">
              <a:solidFill>
                <a:srgbClr val="242425">
                  <a:lumMod val="75000"/>
                  <a:lumOff val="25000"/>
                </a:srgbClr>
              </a:solidFill>
              <a:latin typeface="Fira Sans Book"/>
            </a:endParaRPr>
          </a:p>
        </p:txBody>
      </p:sp>
      <p:sp>
        <p:nvSpPr>
          <p:cNvPr id="14" name="Footer Text">
            <a:extLst>
              <a:ext uri="{FF2B5EF4-FFF2-40B4-BE49-F238E27FC236}">
                <a16:creationId xmlns:a16="http://schemas.microsoft.com/office/drawing/2014/main" id="{A6BD9F3B-59A9-F399-C3EB-F76DD2C93DC0}"/>
              </a:ext>
            </a:extLst>
          </p:cNvPr>
          <p:cNvSpPr txBox="1"/>
          <p:nvPr/>
        </p:nvSpPr>
        <p:spPr>
          <a:xfrm>
            <a:off x="6306225" y="2781258"/>
            <a:ext cx="3851744" cy="2585323"/>
          </a:xfrm>
          <a:prstGeom prst="rect">
            <a:avLst/>
          </a:prstGeom>
          <a:noFill/>
        </p:spPr>
        <p:txBody>
          <a:bodyPr wrap="square" lIns="0" tIns="0" rIns="0" bIns="0" rtlCol="0">
            <a:spAutoFit/>
          </a:bodyPr>
          <a:lstStyle/>
          <a:p>
            <a:pPr marL="154513" indent="-154513" algn="just">
              <a:buFont typeface="Arial" panose="020B0604020202020204" pitchFamily="34" charset="0"/>
              <a:buChar char="•"/>
            </a:pPr>
            <a:r>
              <a:rPr lang="en-US" sz="1400" dirty="0">
                <a:solidFill>
                  <a:schemeClr val="tx1">
                    <a:lumMod val="85000"/>
                    <a:lumOff val="15000"/>
                  </a:schemeClr>
                </a:solidFill>
              </a:rPr>
              <a:t>Client’s primary requirement is to build a causal model to identify the reasons for E&amp;O and remove the manual intervention</a:t>
            </a:r>
          </a:p>
          <a:p>
            <a:pPr marL="154513" indent="-154513" algn="just">
              <a:buFont typeface="Arial" panose="020B0604020202020204" pitchFamily="34" charset="0"/>
              <a:buChar char="•"/>
            </a:pPr>
            <a:endParaRPr lang="en-US" sz="1400" dirty="0">
              <a:solidFill>
                <a:schemeClr val="tx1">
                  <a:lumMod val="85000"/>
                  <a:lumOff val="15000"/>
                </a:schemeClr>
              </a:solidFill>
            </a:endParaRPr>
          </a:p>
          <a:p>
            <a:pPr marL="154513" indent="-154513" algn="just">
              <a:buFont typeface="Arial" panose="020B0604020202020204" pitchFamily="34" charset="0"/>
              <a:buChar char="•"/>
            </a:pPr>
            <a:r>
              <a:rPr lang="en-US" sz="1400" dirty="0">
                <a:solidFill>
                  <a:schemeClr val="tx1">
                    <a:lumMod val="75000"/>
                    <a:lumOff val="25000"/>
                  </a:schemeClr>
                </a:solidFill>
              </a:rPr>
              <a:t>Create a framework to build a decision engine with a  forward-looking view to identify SKUs that could potentially result in E&amp;O </a:t>
            </a:r>
          </a:p>
          <a:p>
            <a:pPr marL="154513" indent="-154513" algn="just">
              <a:buFont typeface="Arial" panose="020B0604020202020204" pitchFamily="34" charset="0"/>
              <a:buChar char="•"/>
            </a:pPr>
            <a:endParaRPr lang="en-US" sz="1400" dirty="0">
              <a:solidFill>
                <a:schemeClr val="tx1">
                  <a:lumMod val="75000"/>
                  <a:lumOff val="25000"/>
                </a:schemeClr>
              </a:solidFill>
            </a:endParaRPr>
          </a:p>
          <a:p>
            <a:pPr marL="154513" indent="-154513" algn="just">
              <a:buFont typeface="Arial" panose="020B0604020202020204" pitchFamily="34" charset="0"/>
              <a:buChar char="•"/>
            </a:pPr>
            <a:r>
              <a:rPr lang="en-US" sz="1400" dirty="0">
                <a:solidFill>
                  <a:schemeClr val="tx1">
                    <a:lumMod val="75000"/>
                    <a:lumOff val="25000"/>
                  </a:schemeClr>
                </a:solidFill>
              </a:rPr>
              <a:t>Providing right dashboards to all involved stakeholders – Inventory Planners, Warehouse Managers, and Executives/Leadership</a:t>
            </a:r>
          </a:p>
          <a:p>
            <a:pPr marL="154513" indent="-154513" algn="just">
              <a:buFont typeface="Arial" panose="020B0604020202020204" pitchFamily="34" charset="0"/>
              <a:buChar char="•"/>
            </a:pPr>
            <a:endParaRPr lang="en-US" sz="1400" dirty="0">
              <a:solidFill>
                <a:schemeClr val="tx1">
                  <a:lumMod val="85000"/>
                  <a:lumOff val="15000"/>
                </a:schemeClr>
              </a:solidFill>
            </a:endParaRPr>
          </a:p>
        </p:txBody>
      </p:sp>
    </p:spTree>
    <p:extLst>
      <p:ext uri="{BB962C8B-B14F-4D97-AF65-F5344CB8AC3E}">
        <p14:creationId xmlns:p14="http://schemas.microsoft.com/office/powerpoint/2010/main" val="24734619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7F4D7C0-A761-F951-14D4-67BE94CE3E71}"/>
              </a:ext>
            </a:extLst>
          </p:cNvPr>
          <p:cNvSpPr txBox="1"/>
          <p:nvPr/>
        </p:nvSpPr>
        <p:spPr>
          <a:xfrm>
            <a:off x="-1" y="93018"/>
            <a:ext cx="12368463" cy="523220"/>
          </a:xfrm>
          <a:prstGeom prst="rect">
            <a:avLst/>
          </a:prstGeom>
          <a:noFill/>
        </p:spPr>
        <p:txBody>
          <a:bodyPr wrap="square" rtlCol="0">
            <a:spAutoFit/>
          </a:bodyPr>
          <a:lstStyle/>
          <a:p>
            <a:r>
              <a:rPr lang="en-US" sz="2800" b="1" dirty="0"/>
              <a:t>4.1 Key Drivers of E&amp;O Inventory</a:t>
            </a:r>
          </a:p>
        </p:txBody>
      </p:sp>
      <p:cxnSp>
        <p:nvCxnSpPr>
          <p:cNvPr id="3" name="Straight Connector 2">
            <a:extLst>
              <a:ext uri="{FF2B5EF4-FFF2-40B4-BE49-F238E27FC236}">
                <a16:creationId xmlns:a16="http://schemas.microsoft.com/office/drawing/2014/main" id="{B7FAE91C-715A-C96F-4A76-5010EA997DE4}"/>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6" name="Table 5">
            <a:extLst>
              <a:ext uri="{FF2B5EF4-FFF2-40B4-BE49-F238E27FC236}">
                <a16:creationId xmlns:a16="http://schemas.microsoft.com/office/drawing/2014/main" id="{E9A45EDF-93D9-E40C-C4EC-8C1732B6DBCC}"/>
              </a:ext>
            </a:extLst>
          </p:cNvPr>
          <p:cNvGraphicFramePr>
            <a:graphicFrameLocks noGrp="1"/>
          </p:cNvGraphicFramePr>
          <p:nvPr>
            <p:extLst>
              <p:ext uri="{D42A27DB-BD31-4B8C-83A1-F6EECF244321}">
                <p14:modId xmlns:p14="http://schemas.microsoft.com/office/powerpoint/2010/main" val="2524122160"/>
              </p:ext>
            </p:extLst>
          </p:nvPr>
        </p:nvGraphicFramePr>
        <p:xfrm>
          <a:off x="295564" y="808292"/>
          <a:ext cx="11436189" cy="5711378"/>
        </p:xfrm>
        <a:graphic>
          <a:graphicData uri="http://schemas.openxmlformats.org/drawingml/2006/table">
            <a:tbl>
              <a:tblPr firstRow="1">
                <a:tableStyleId>{073A0DAA-6AF3-43AB-8588-CEC1D06C72B9}</a:tableStyleId>
              </a:tblPr>
              <a:tblGrid>
                <a:gridCol w="521185">
                  <a:extLst>
                    <a:ext uri="{9D8B030D-6E8A-4147-A177-3AD203B41FA5}">
                      <a16:colId xmlns:a16="http://schemas.microsoft.com/office/drawing/2014/main" val="1343501606"/>
                    </a:ext>
                  </a:extLst>
                </a:gridCol>
                <a:gridCol w="1002815">
                  <a:extLst>
                    <a:ext uri="{9D8B030D-6E8A-4147-A177-3AD203B41FA5}">
                      <a16:colId xmlns:a16="http://schemas.microsoft.com/office/drawing/2014/main" val="1729000178"/>
                    </a:ext>
                  </a:extLst>
                </a:gridCol>
                <a:gridCol w="1509121">
                  <a:extLst>
                    <a:ext uri="{9D8B030D-6E8A-4147-A177-3AD203B41FA5}">
                      <a16:colId xmlns:a16="http://schemas.microsoft.com/office/drawing/2014/main" val="639423441"/>
                    </a:ext>
                  </a:extLst>
                </a:gridCol>
                <a:gridCol w="3533933">
                  <a:extLst>
                    <a:ext uri="{9D8B030D-6E8A-4147-A177-3AD203B41FA5}">
                      <a16:colId xmlns:a16="http://schemas.microsoft.com/office/drawing/2014/main" val="3081787357"/>
                    </a:ext>
                  </a:extLst>
                </a:gridCol>
                <a:gridCol w="4869135">
                  <a:extLst>
                    <a:ext uri="{9D8B030D-6E8A-4147-A177-3AD203B41FA5}">
                      <a16:colId xmlns:a16="http://schemas.microsoft.com/office/drawing/2014/main" val="3715733086"/>
                    </a:ext>
                  </a:extLst>
                </a:gridCol>
              </a:tblGrid>
              <a:tr h="455990">
                <a:tc>
                  <a:txBody>
                    <a:bodyPr/>
                    <a:lstStyle/>
                    <a:p>
                      <a:pPr algn="ctr" fontAlgn="b"/>
                      <a:r>
                        <a:rPr lang="en-IN" sz="1200" b="1" u="none" strike="noStrike" dirty="0">
                          <a:effectLst/>
                        </a:rPr>
                        <a:t>S No</a:t>
                      </a:r>
                      <a:endParaRPr lang="en-IN" sz="1200" b="1"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ctr" fontAlgn="b"/>
                      <a:r>
                        <a:rPr lang="en-IN" sz="1200" b="1" u="none" strike="noStrike" dirty="0">
                          <a:effectLst/>
                        </a:rPr>
                        <a:t>Feature</a:t>
                      </a:r>
                      <a:endParaRPr lang="en-IN" sz="1200" b="1"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ctr" fontAlgn="b"/>
                      <a:r>
                        <a:rPr lang="en-IN" sz="1200" b="1" u="none" strike="noStrike">
                          <a:effectLst/>
                        </a:rPr>
                        <a:t>Importance</a:t>
                      </a:r>
                      <a:endParaRPr lang="en-IN" sz="1200" b="1" i="0" u="none" strike="noStrike">
                        <a:solidFill>
                          <a:srgbClr val="000000"/>
                        </a:solidFill>
                        <a:effectLst/>
                        <a:latin typeface="Aptos Narrow" panose="020B0004020202020204" pitchFamily="34" charset="0"/>
                      </a:endParaRPr>
                    </a:p>
                  </a:txBody>
                  <a:tcPr marL="7490" marR="7490" marT="7490" marB="0" anchor="ctr"/>
                </a:tc>
                <a:tc>
                  <a:txBody>
                    <a:bodyPr/>
                    <a:lstStyle/>
                    <a:p>
                      <a:pPr algn="ctr" fontAlgn="b"/>
                      <a:r>
                        <a:rPr lang="en-IN" sz="1200" b="1" u="none" strike="noStrike">
                          <a:effectLst/>
                        </a:rPr>
                        <a:t>Interpretation</a:t>
                      </a:r>
                      <a:endParaRPr lang="en-IN" sz="1200" b="1" i="0" u="none" strike="noStrike">
                        <a:solidFill>
                          <a:srgbClr val="000000"/>
                        </a:solidFill>
                        <a:effectLst/>
                        <a:latin typeface="Aptos Narrow" panose="020B0004020202020204" pitchFamily="34" charset="0"/>
                      </a:endParaRPr>
                    </a:p>
                  </a:txBody>
                  <a:tcPr marL="7490" marR="7490" marT="7490" marB="0" anchor="ctr"/>
                </a:tc>
                <a:tc>
                  <a:txBody>
                    <a:bodyPr/>
                    <a:lstStyle/>
                    <a:p>
                      <a:pPr algn="ctr" fontAlgn="b"/>
                      <a:r>
                        <a:rPr lang="en-IN" sz="1200" b="1" u="none" strike="noStrike" dirty="0">
                          <a:effectLst/>
                        </a:rPr>
                        <a:t>Actionable Insight</a:t>
                      </a:r>
                      <a:endParaRPr lang="en-IN" sz="1200" b="1" i="0" u="none" strike="noStrike" dirty="0">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360131959"/>
                  </a:ext>
                </a:extLst>
              </a:tr>
              <a:tr h="455990">
                <a:tc>
                  <a:txBody>
                    <a:bodyPr/>
                    <a:lstStyle/>
                    <a:p>
                      <a:pPr algn="ctr" fontAlgn="b"/>
                      <a:r>
                        <a:rPr lang="en-IN" sz="1400" u="none" strike="noStrike" dirty="0">
                          <a:effectLst/>
                        </a:rPr>
                        <a:t>1</a:t>
                      </a:r>
                      <a:endParaRPr lang="en-IN"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dirty="0">
                          <a:effectLst/>
                        </a:rPr>
                        <a:t>Carrying Cost</a:t>
                      </a:r>
                      <a:endParaRPr lang="en-IN"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dirty="0">
                          <a:effectLst/>
                        </a:rPr>
                        <a:t>Highest (0.935, 0.503)</a:t>
                      </a:r>
                      <a:endParaRPr lang="en-IN"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High carrying costs drive E&amp;O, increasing the financial burden.</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Reduce stock for high-cost items, adjust reorder points &amp; safety stock levels.</a:t>
                      </a:r>
                      <a:endParaRPr lang="en-US" sz="1400" b="0" i="0" u="none" strike="noStrike" dirty="0">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423357852"/>
                  </a:ext>
                </a:extLst>
              </a:tr>
              <a:tr h="857857">
                <a:tc>
                  <a:txBody>
                    <a:bodyPr/>
                    <a:lstStyle/>
                    <a:p>
                      <a:pPr algn="ctr" fontAlgn="b"/>
                      <a:r>
                        <a:rPr lang="en-IN" sz="1400" u="none" strike="noStrike">
                          <a:effectLst/>
                        </a:rPr>
                        <a:t>2</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dirty="0">
                          <a:effectLst/>
                        </a:rPr>
                        <a:t>Demand Fluctuation</a:t>
                      </a:r>
                      <a:endParaRPr lang="en-IN"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dirty="0">
                          <a:effectLst/>
                        </a:rPr>
                        <a:t>High (0.039, 0.123)</a:t>
                      </a:r>
                      <a:endParaRPr lang="en-IN"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High variability leads to overstocking due to unpredictable demand.</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Use dynamic forecasting, adjust safety stock based on demand volatility.</a:t>
                      </a:r>
                      <a:endParaRPr lang="en-US" sz="1400" b="0" i="0" u="none" strike="noStrike" dirty="0">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3948857859"/>
                  </a:ext>
                </a:extLst>
              </a:tr>
              <a:tr h="455990">
                <a:tc>
                  <a:txBody>
                    <a:bodyPr/>
                    <a:lstStyle/>
                    <a:p>
                      <a:pPr algn="ctr" fontAlgn="b"/>
                      <a:r>
                        <a:rPr lang="en-IN" sz="1400" u="none" strike="noStrike">
                          <a:effectLst/>
                        </a:rPr>
                        <a:t>3</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a:effectLst/>
                        </a:rPr>
                        <a:t>Forecast Accuracy</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a:effectLst/>
                        </a:rPr>
                        <a:t>Moderate (0.009, 0.092)</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Low accuracy causes over-ordering to avoid stockouts.</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a:effectLst/>
                        </a:rPr>
                        <a:t>Improve forecasts for volatile or high-cost SKUs; align inventory with demand.</a:t>
                      </a:r>
                      <a:endParaRPr lang="en-US" sz="1400" b="0" i="0" u="none" strike="noStrike">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758150890"/>
                  </a:ext>
                </a:extLst>
              </a:tr>
              <a:tr h="455990">
                <a:tc>
                  <a:txBody>
                    <a:bodyPr/>
                    <a:lstStyle/>
                    <a:p>
                      <a:pPr algn="ctr" fontAlgn="b"/>
                      <a:r>
                        <a:rPr lang="en-IN" sz="1400" u="none" strike="noStrike">
                          <a:effectLst/>
                        </a:rPr>
                        <a:t>4</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a:effectLst/>
                        </a:rPr>
                        <a:t>Unit Cost</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dirty="0">
                          <a:effectLst/>
                        </a:rPr>
                        <a:t>Moderate (0.006, 0.084)</a:t>
                      </a:r>
                      <a:endParaRPr lang="en-IN"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High-cost items contribute more to financial impact of E&amp;O.</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Tighten controls on high-cost SKUs, set stricter reorder and safety stock policies.</a:t>
                      </a:r>
                      <a:endParaRPr lang="en-US" sz="1400" b="0" i="0" u="none" strike="noStrike" dirty="0">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1334672092"/>
                  </a:ext>
                </a:extLst>
              </a:tr>
              <a:tr h="857857">
                <a:tc>
                  <a:txBody>
                    <a:bodyPr/>
                    <a:lstStyle/>
                    <a:p>
                      <a:pPr algn="ctr" fontAlgn="b"/>
                      <a:r>
                        <a:rPr lang="en-IN" sz="1400" u="none" strike="noStrike">
                          <a:effectLst/>
                        </a:rPr>
                        <a:t>5</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a:effectLst/>
                        </a:rPr>
                        <a:t>Lead Time Days</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it-IT" sz="1400" u="none" strike="noStrike" dirty="0">
                          <a:effectLst/>
                        </a:rPr>
                        <a:t>Moderate in RF Classifier (0.073)</a:t>
                      </a:r>
                      <a:endParaRPr lang="it-IT"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Long, variable lead times drive excess stock.</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a:effectLst/>
                        </a:rPr>
                        <a:t>Collaborate with suppliers to reduce variability; adjust safety stock as needed.</a:t>
                      </a:r>
                      <a:endParaRPr lang="en-US" sz="1400" b="0" i="0" u="none" strike="noStrike">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2446569088"/>
                  </a:ext>
                </a:extLst>
              </a:tr>
              <a:tr h="857857">
                <a:tc>
                  <a:txBody>
                    <a:bodyPr/>
                    <a:lstStyle/>
                    <a:p>
                      <a:pPr algn="ctr" fontAlgn="b"/>
                      <a:r>
                        <a:rPr lang="en-IN" sz="1400" u="none" strike="noStrike">
                          <a:effectLst/>
                        </a:rPr>
                        <a:t>6</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a:effectLst/>
                        </a:rPr>
                        <a:t>Shelf Life</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it-IT" sz="1400" u="none" strike="noStrike" dirty="0">
                          <a:effectLst/>
                        </a:rPr>
                        <a:t>Moderate in RF Classifier (0.061)</a:t>
                      </a:r>
                      <a:endParaRPr lang="it-IT"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Short shelf life increases obsolescence risk.</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Discount or reduce orders for items nearing end of shelf life to prevent obsolescence.</a:t>
                      </a:r>
                      <a:endParaRPr lang="en-US" sz="1400" b="0" i="0" u="none" strike="noStrike" dirty="0">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2992748304"/>
                  </a:ext>
                </a:extLst>
              </a:tr>
              <a:tr h="857857">
                <a:tc>
                  <a:txBody>
                    <a:bodyPr/>
                    <a:lstStyle/>
                    <a:p>
                      <a:pPr algn="ctr" fontAlgn="b"/>
                      <a:r>
                        <a:rPr lang="en-IN" sz="1400" u="none" strike="noStrike">
                          <a:effectLst/>
                        </a:rPr>
                        <a:t>7</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a:effectLst/>
                        </a:rPr>
                        <a:t>Subdivision</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Low to moderate (0.003, 0.035)</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Demand patterns vary by subdivision (e.g., seasonality in </a:t>
                      </a:r>
                      <a:r>
                        <a:rPr lang="en-US" sz="1400" u="none" strike="noStrike" dirty="0" err="1">
                          <a:effectLst/>
                        </a:rPr>
                        <a:t>Agrochem</a:t>
                      </a:r>
                      <a:r>
                        <a:rPr lang="en-US" sz="1400" u="none" strike="noStrike" dirty="0">
                          <a:effectLst/>
                        </a:rPr>
                        <a:t>).</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Adjust inventory based on seasonal demand for subdivisions like Agrochemicals.</a:t>
                      </a:r>
                      <a:endParaRPr lang="en-US" sz="1400" b="0" i="0" u="none" strike="noStrike" dirty="0">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3740760535"/>
                  </a:ext>
                </a:extLst>
              </a:tr>
              <a:tr h="455990">
                <a:tc>
                  <a:txBody>
                    <a:bodyPr/>
                    <a:lstStyle/>
                    <a:p>
                      <a:pPr algn="ctr" fontAlgn="b"/>
                      <a:r>
                        <a:rPr lang="en-IN" sz="1400" u="none" strike="noStrike">
                          <a:effectLst/>
                        </a:rPr>
                        <a:t>8</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a:effectLst/>
                        </a:rPr>
                        <a:t>Lifecycle Phase</a:t>
                      </a:r>
                      <a:endParaRPr lang="en-IN" sz="1400" b="0" i="0" u="none" strike="noStrike">
                        <a:solidFill>
                          <a:srgbClr val="000000"/>
                        </a:solidFill>
                        <a:effectLst/>
                        <a:latin typeface="Aptos Narrow" panose="020B0004020202020204" pitchFamily="34" charset="0"/>
                      </a:endParaRPr>
                    </a:p>
                  </a:txBody>
                  <a:tcPr marL="7490" marR="7490" marT="7490" marB="0" anchor="ctr"/>
                </a:tc>
                <a:tc>
                  <a:txBody>
                    <a:bodyPr/>
                    <a:lstStyle/>
                    <a:p>
                      <a:pPr algn="l" fontAlgn="b"/>
                      <a:r>
                        <a:rPr lang="en-IN" sz="1400" u="none" strike="noStrike" dirty="0">
                          <a:effectLst/>
                        </a:rPr>
                        <a:t>Lowest (0.0007, 0.029)</a:t>
                      </a:r>
                      <a:endParaRPr lang="en-IN"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Lifecycle phase has a minor impact on E&amp;O risk in this dataset.</a:t>
                      </a:r>
                      <a:endParaRPr lang="en-US" sz="1400" b="0" i="0" u="none" strike="noStrike" dirty="0">
                        <a:solidFill>
                          <a:srgbClr val="000000"/>
                        </a:solidFill>
                        <a:effectLst/>
                        <a:latin typeface="Aptos Narrow" panose="020B0004020202020204" pitchFamily="34" charset="0"/>
                      </a:endParaRPr>
                    </a:p>
                  </a:txBody>
                  <a:tcPr marL="7490" marR="7490" marT="7490" marB="0" anchor="ctr"/>
                </a:tc>
                <a:tc>
                  <a:txBody>
                    <a:bodyPr/>
                    <a:lstStyle/>
                    <a:p>
                      <a:pPr algn="l" fontAlgn="b"/>
                      <a:r>
                        <a:rPr lang="en-US" sz="1400" u="none" strike="noStrike" dirty="0">
                          <a:effectLst/>
                        </a:rPr>
                        <a:t>Monitor Decline phase SKUs but prioritize direct drivers (e.g., cost, demand).</a:t>
                      </a:r>
                      <a:endParaRPr lang="en-US" sz="1400" b="0" i="0" u="none" strike="noStrike" dirty="0">
                        <a:solidFill>
                          <a:srgbClr val="000000"/>
                        </a:solidFill>
                        <a:effectLst/>
                        <a:latin typeface="Aptos Narrow" panose="020B0004020202020204" pitchFamily="34" charset="0"/>
                      </a:endParaRPr>
                    </a:p>
                  </a:txBody>
                  <a:tcPr marL="7490" marR="7490" marT="7490" marB="0" anchor="ctr"/>
                </a:tc>
                <a:extLst>
                  <a:ext uri="{0D108BD9-81ED-4DB2-BD59-A6C34878D82A}">
                    <a16:rowId xmlns:a16="http://schemas.microsoft.com/office/drawing/2014/main" val="675545885"/>
                  </a:ext>
                </a:extLst>
              </a:tr>
            </a:tbl>
          </a:graphicData>
        </a:graphic>
      </p:graphicFrame>
    </p:spTree>
    <p:extLst>
      <p:ext uri="{BB962C8B-B14F-4D97-AF65-F5344CB8AC3E}">
        <p14:creationId xmlns:p14="http://schemas.microsoft.com/office/powerpoint/2010/main" val="27723959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7F4D7C0-A761-F951-14D4-67BE94CE3E71}"/>
              </a:ext>
            </a:extLst>
          </p:cNvPr>
          <p:cNvSpPr txBox="1"/>
          <p:nvPr/>
        </p:nvSpPr>
        <p:spPr>
          <a:xfrm>
            <a:off x="-1" y="93018"/>
            <a:ext cx="12368463" cy="523220"/>
          </a:xfrm>
          <a:prstGeom prst="rect">
            <a:avLst/>
          </a:prstGeom>
          <a:noFill/>
        </p:spPr>
        <p:txBody>
          <a:bodyPr wrap="square" rtlCol="0">
            <a:spAutoFit/>
          </a:bodyPr>
          <a:lstStyle/>
          <a:p>
            <a:r>
              <a:rPr lang="en-US" sz="2800" b="1" dirty="0"/>
              <a:t>4.2 Drivers of E&amp;O Inventory</a:t>
            </a:r>
          </a:p>
        </p:txBody>
      </p:sp>
      <p:cxnSp>
        <p:nvCxnSpPr>
          <p:cNvPr id="3" name="Straight Connector 2">
            <a:extLst>
              <a:ext uri="{FF2B5EF4-FFF2-40B4-BE49-F238E27FC236}">
                <a16:creationId xmlns:a16="http://schemas.microsoft.com/office/drawing/2014/main" id="{B7FAE91C-715A-C96F-4A76-5010EA997DE4}"/>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6" name="Diagram 5">
            <a:extLst>
              <a:ext uri="{FF2B5EF4-FFF2-40B4-BE49-F238E27FC236}">
                <a16:creationId xmlns:a16="http://schemas.microsoft.com/office/drawing/2014/main" id="{DF36A2A7-7E51-D085-1161-E7162B045661}"/>
              </a:ext>
            </a:extLst>
          </p:cNvPr>
          <p:cNvGraphicFramePr/>
          <p:nvPr>
            <p:extLst>
              <p:ext uri="{D42A27DB-BD31-4B8C-83A1-F6EECF244321}">
                <p14:modId xmlns:p14="http://schemas.microsoft.com/office/powerpoint/2010/main" val="764060586"/>
              </p:ext>
            </p:extLst>
          </p:nvPr>
        </p:nvGraphicFramePr>
        <p:xfrm>
          <a:off x="2605140" y="1237316"/>
          <a:ext cx="6067519" cy="474870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7001361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7F4D7C0-A761-F951-14D4-67BE94CE3E71}"/>
              </a:ext>
            </a:extLst>
          </p:cNvPr>
          <p:cNvSpPr txBox="1"/>
          <p:nvPr/>
        </p:nvSpPr>
        <p:spPr>
          <a:xfrm>
            <a:off x="-1" y="93018"/>
            <a:ext cx="12368463" cy="523220"/>
          </a:xfrm>
          <a:prstGeom prst="rect">
            <a:avLst/>
          </a:prstGeom>
          <a:noFill/>
        </p:spPr>
        <p:txBody>
          <a:bodyPr wrap="square" rtlCol="0">
            <a:spAutoFit/>
          </a:bodyPr>
          <a:lstStyle/>
          <a:p>
            <a:r>
              <a:rPr lang="en-US" sz="2800" b="1" dirty="0"/>
              <a:t>4.3 Key Drivers of E&amp;O Inventory (Feature Importance Analysis)</a:t>
            </a:r>
          </a:p>
        </p:txBody>
      </p:sp>
      <p:cxnSp>
        <p:nvCxnSpPr>
          <p:cNvPr id="3" name="Straight Connector 2">
            <a:extLst>
              <a:ext uri="{FF2B5EF4-FFF2-40B4-BE49-F238E27FC236}">
                <a16:creationId xmlns:a16="http://schemas.microsoft.com/office/drawing/2014/main" id="{B7FAE91C-715A-C96F-4A76-5010EA997DE4}"/>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2E4D2378-AA28-F835-4ADA-6BFE5CEE72D3}"/>
              </a:ext>
            </a:extLst>
          </p:cNvPr>
          <p:cNvSpPr txBox="1"/>
          <p:nvPr/>
        </p:nvSpPr>
        <p:spPr>
          <a:xfrm>
            <a:off x="137160" y="806783"/>
            <a:ext cx="10410768" cy="5596853"/>
          </a:xfrm>
          <a:prstGeom prst="rect">
            <a:avLst/>
          </a:prstGeom>
          <a:noFill/>
        </p:spPr>
        <p:txBody>
          <a:bodyPr wrap="square">
            <a:spAutoFit/>
          </a:bodyPr>
          <a:lstStyle/>
          <a:p>
            <a:pPr marL="285750" indent="-285750" algn="just">
              <a:lnSpc>
                <a:spcPct val="150000"/>
              </a:lnSpc>
              <a:buFont typeface="Arial" panose="020B0604020202020204" pitchFamily="34" charset="0"/>
              <a:buChar char="•"/>
            </a:pPr>
            <a:r>
              <a:rPr lang="en-US" sz="1600" b="1" dirty="0"/>
              <a:t>Carrying Cost (Top Driver)</a:t>
            </a:r>
          </a:p>
          <a:p>
            <a:pPr marL="742950" lvl="1" indent="-285750" algn="just">
              <a:lnSpc>
                <a:spcPct val="150000"/>
              </a:lnSpc>
              <a:buFont typeface="Arial" panose="020B0604020202020204" pitchFamily="34" charset="0"/>
              <a:buChar char="•"/>
            </a:pPr>
            <a:r>
              <a:rPr lang="en-US" sz="1600" b="1" dirty="0"/>
              <a:t>Impact</a:t>
            </a:r>
            <a:r>
              <a:rPr lang="en-US" sz="1600" dirty="0"/>
              <a:t>: Strongly linked to excess and obsolescence.</a:t>
            </a:r>
          </a:p>
          <a:p>
            <a:pPr marL="742950" lvl="1" indent="-285750" algn="just">
              <a:lnSpc>
                <a:spcPct val="150000"/>
              </a:lnSpc>
              <a:buFont typeface="Arial" panose="020B0604020202020204" pitchFamily="34" charset="0"/>
              <a:buChar char="•"/>
            </a:pPr>
            <a:r>
              <a:rPr lang="en-US" sz="1600" b="1" dirty="0"/>
              <a:t>Action</a:t>
            </a:r>
            <a:r>
              <a:rPr lang="en-US" sz="1600" dirty="0"/>
              <a:t>: Focus on reducing inventory for high-cost SKUs by adjusting safety stock and reorder points.</a:t>
            </a:r>
          </a:p>
          <a:p>
            <a:pPr marL="285750" indent="-285750" algn="just">
              <a:lnSpc>
                <a:spcPct val="150000"/>
              </a:lnSpc>
              <a:buFont typeface="Arial" panose="020B0604020202020204" pitchFamily="34" charset="0"/>
              <a:buChar char="•"/>
            </a:pPr>
            <a:r>
              <a:rPr lang="en-US" sz="1600" b="1" dirty="0"/>
              <a:t>Demand Fluctuation (High Influence)</a:t>
            </a:r>
          </a:p>
          <a:p>
            <a:pPr marL="742950" lvl="1" indent="-285750" algn="just">
              <a:lnSpc>
                <a:spcPct val="150000"/>
              </a:lnSpc>
              <a:buFont typeface="Arial" panose="020B0604020202020204" pitchFamily="34" charset="0"/>
              <a:buChar char="•"/>
            </a:pPr>
            <a:r>
              <a:rPr lang="en-US" sz="1600" b="1" dirty="0"/>
              <a:t>Impact</a:t>
            </a:r>
            <a:r>
              <a:rPr lang="en-US" sz="1600" dirty="0"/>
              <a:t>: High variability in demand leads to overstocking.</a:t>
            </a:r>
          </a:p>
          <a:p>
            <a:pPr marL="742950" lvl="1" indent="-285750" algn="just">
              <a:lnSpc>
                <a:spcPct val="150000"/>
              </a:lnSpc>
              <a:buFont typeface="Arial" panose="020B0604020202020204" pitchFamily="34" charset="0"/>
              <a:buChar char="•"/>
            </a:pPr>
            <a:r>
              <a:rPr lang="en-US" sz="1600" b="1" dirty="0"/>
              <a:t>Action</a:t>
            </a:r>
            <a:r>
              <a:rPr lang="en-US" sz="1600" dirty="0"/>
              <a:t>: Implement dynamic forecasting and flexible stock policies for volatile items.</a:t>
            </a:r>
          </a:p>
          <a:p>
            <a:pPr marL="285750" indent="-285750" algn="just">
              <a:lnSpc>
                <a:spcPct val="150000"/>
              </a:lnSpc>
              <a:buFont typeface="Arial" panose="020B0604020202020204" pitchFamily="34" charset="0"/>
              <a:buChar char="•"/>
            </a:pPr>
            <a:r>
              <a:rPr lang="en-US" sz="1600" b="1" dirty="0"/>
              <a:t>Forecast Accuracy (Moderate Influence)</a:t>
            </a:r>
          </a:p>
          <a:p>
            <a:pPr marL="742950" lvl="1" indent="-285750" algn="just">
              <a:lnSpc>
                <a:spcPct val="150000"/>
              </a:lnSpc>
              <a:buFont typeface="Arial" panose="020B0604020202020204" pitchFamily="34" charset="0"/>
              <a:buChar char="•"/>
            </a:pPr>
            <a:r>
              <a:rPr lang="en-US" sz="1600" b="1" dirty="0"/>
              <a:t>Impact</a:t>
            </a:r>
            <a:r>
              <a:rPr lang="en-US" sz="1600" dirty="0"/>
              <a:t>: Lower forecast accuracy increases excess risk.</a:t>
            </a:r>
          </a:p>
          <a:p>
            <a:pPr marL="742950" lvl="1" indent="-285750" algn="just">
              <a:lnSpc>
                <a:spcPct val="150000"/>
              </a:lnSpc>
              <a:buFont typeface="Arial" panose="020B0604020202020204" pitchFamily="34" charset="0"/>
              <a:buChar char="•"/>
            </a:pPr>
            <a:r>
              <a:rPr lang="en-US" sz="1600" b="1" dirty="0"/>
              <a:t>Action</a:t>
            </a:r>
            <a:r>
              <a:rPr lang="en-US" sz="1600" dirty="0"/>
              <a:t>: Improve demand forecasting, especially for high-risk SKUs.</a:t>
            </a:r>
          </a:p>
          <a:p>
            <a:pPr marL="285750" indent="-285750" algn="just">
              <a:lnSpc>
                <a:spcPct val="150000"/>
              </a:lnSpc>
              <a:buFont typeface="Arial" panose="020B0604020202020204" pitchFamily="34" charset="0"/>
              <a:buChar char="•"/>
            </a:pPr>
            <a:r>
              <a:rPr lang="en-US" sz="1600" b="1" dirty="0"/>
              <a:t>Unit Cost (Moderate Influence)</a:t>
            </a:r>
          </a:p>
          <a:p>
            <a:pPr marL="742950" lvl="1" indent="-285750" algn="just">
              <a:lnSpc>
                <a:spcPct val="150000"/>
              </a:lnSpc>
              <a:buFont typeface="Arial" panose="020B0604020202020204" pitchFamily="34" charset="0"/>
              <a:buChar char="•"/>
            </a:pPr>
            <a:r>
              <a:rPr lang="en-US" sz="1600" b="1" dirty="0"/>
              <a:t>Impact</a:t>
            </a:r>
            <a:r>
              <a:rPr lang="en-US" sz="1600" dirty="0"/>
              <a:t>: Higher unit costs increase the financial impact of E&amp;O.</a:t>
            </a:r>
          </a:p>
          <a:p>
            <a:pPr marL="742950" lvl="1" indent="-285750" algn="just">
              <a:lnSpc>
                <a:spcPct val="150000"/>
              </a:lnSpc>
              <a:buFont typeface="Arial" panose="020B0604020202020204" pitchFamily="34" charset="0"/>
              <a:buChar char="•"/>
            </a:pPr>
            <a:r>
              <a:rPr lang="en-US" sz="1600" b="1" dirty="0"/>
              <a:t>Action</a:t>
            </a:r>
            <a:r>
              <a:rPr lang="en-US" sz="1600" dirty="0"/>
              <a:t>: Set stricter inventory controls on high-cost items.</a:t>
            </a:r>
          </a:p>
          <a:p>
            <a:pPr marL="285750" indent="-285750" algn="just">
              <a:lnSpc>
                <a:spcPct val="150000"/>
              </a:lnSpc>
              <a:buFont typeface="Arial" panose="020B0604020202020204" pitchFamily="34" charset="0"/>
              <a:buChar char="•"/>
            </a:pPr>
            <a:r>
              <a:rPr lang="en-US" sz="1600" b="1" dirty="0"/>
              <a:t>Lead Time Variability (Moderate Influence)</a:t>
            </a:r>
          </a:p>
          <a:p>
            <a:pPr marL="742950" lvl="1" indent="-285750" algn="just">
              <a:lnSpc>
                <a:spcPct val="150000"/>
              </a:lnSpc>
              <a:buFont typeface="Arial" panose="020B0604020202020204" pitchFamily="34" charset="0"/>
              <a:buChar char="•"/>
            </a:pPr>
            <a:r>
              <a:rPr lang="en-US" sz="1600" b="1" dirty="0"/>
              <a:t>Impact</a:t>
            </a:r>
            <a:r>
              <a:rPr lang="en-US" sz="1600" dirty="0"/>
              <a:t>: Inconsistent lead times drive up safety stock needs.</a:t>
            </a:r>
          </a:p>
          <a:p>
            <a:pPr marL="742950" lvl="1" indent="-285750" algn="just">
              <a:lnSpc>
                <a:spcPct val="150000"/>
              </a:lnSpc>
              <a:buFont typeface="Arial" panose="020B0604020202020204" pitchFamily="34" charset="0"/>
              <a:buChar char="•"/>
            </a:pPr>
            <a:r>
              <a:rPr lang="en-US" sz="1600" b="1" dirty="0"/>
              <a:t>Action</a:t>
            </a:r>
            <a:r>
              <a:rPr lang="en-US" sz="1600" dirty="0"/>
              <a:t>: Collaborate with suppliers to stabilize lead times or adjust safety stock levels accordingly.</a:t>
            </a:r>
          </a:p>
        </p:txBody>
      </p:sp>
    </p:spTree>
    <p:extLst>
      <p:ext uri="{BB962C8B-B14F-4D97-AF65-F5344CB8AC3E}">
        <p14:creationId xmlns:p14="http://schemas.microsoft.com/office/powerpoint/2010/main" val="15635006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11A63B7-B103-E699-9442-41EB31DDF184}"/>
              </a:ext>
            </a:extLst>
          </p:cNvPr>
          <p:cNvSpPr txBox="1"/>
          <p:nvPr/>
        </p:nvSpPr>
        <p:spPr>
          <a:xfrm>
            <a:off x="2095500" y="2875002"/>
            <a:ext cx="8001000" cy="553998"/>
          </a:xfrm>
          <a:prstGeom prst="rect">
            <a:avLst/>
          </a:prstGeom>
          <a:noFill/>
        </p:spPr>
        <p:txBody>
          <a:bodyPr wrap="square">
            <a:spAutoFit/>
          </a:bodyPr>
          <a:lstStyle/>
          <a:p>
            <a:pPr algn="ctr"/>
            <a:r>
              <a:rPr lang="en-US" sz="3000" b="1" dirty="0"/>
              <a:t>Implementation &amp; Monitoring Plan</a:t>
            </a:r>
            <a:endParaRPr lang="en-IN" sz="3000" b="1" dirty="0"/>
          </a:p>
        </p:txBody>
      </p:sp>
      <p:pic>
        <p:nvPicPr>
          <p:cNvPr id="6146" name="Picture 2" descr="Implementation icon">
            <a:extLst>
              <a:ext uri="{FF2B5EF4-FFF2-40B4-BE49-F238E27FC236}">
                <a16:creationId xmlns:a16="http://schemas.microsoft.com/office/drawing/2014/main" id="{63CD16ED-30E5-2F28-ED2C-232E7A5CBC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50109" y="2246929"/>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Business icon">
            <a:extLst>
              <a:ext uri="{FF2B5EF4-FFF2-40B4-BE49-F238E27FC236}">
                <a16:creationId xmlns:a16="http://schemas.microsoft.com/office/drawing/2014/main" id="{0C58A53F-CA6A-D302-48BD-A5BAD978DF3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01891" y="2432001"/>
            <a:ext cx="1440000" cy="14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58242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60FD683E-B652-637F-650A-F1D2CC5EBA63}"/>
              </a:ext>
            </a:extLst>
          </p:cNvPr>
          <p:cNvSpPr txBox="1"/>
          <p:nvPr/>
        </p:nvSpPr>
        <p:spPr>
          <a:xfrm>
            <a:off x="-1" y="93018"/>
            <a:ext cx="12368463" cy="523220"/>
          </a:xfrm>
          <a:prstGeom prst="rect">
            <a:avLst/>
          </a:prstGeom>
          <a:noFill/>
        </p:spPr>
        <p:txBody>
          <a:bodyPr wrap="square" rtlCol="0">
            <a:spAutoFit/>
          </a:bodyPr>
          <a:lstStyle/>
          <a:p>
            <a:r>
              <a:rPr lang="en-US" sz="2800" b="1" dirty="0"/>
              <a:t>5.1 Recommendations &amp; Monitoring Plan</a:t>
            </a:r>
          </a:p>
        </p:txBody>
      </p:sp>
      <p:cxnSp>
        <p:nvCxnSpPr>
          <p:cNvPr id="3" name="Straight Connector 2">
            <a:extLst>
              <a:ext uri="{FF2B5EF4-FFF2-40B4-BE49-F238E27FC236}">
                <a16:creationId xmlns:a16="http://schemas.microsoft.com/office/drawing/2014/main" id="{BAB3E95E-A1E3-2B24-4575-2563230DBE56}"/>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9" name="Table 8">
            <a:extLst>
              <a:ext uri="{FF2B5EF4-FFF2-40B4-BE49-F238E27FC236}">
                <a16:creationId xmlns:a16="http://schemas.microsoft.com/office/drawing/2014/main" id="{A9D2D05C-EC33-8CB5-6371-42C50A7FD302}"/>
              </a:ext>
            </a:extLst>
          </p:cNvPr>
          <p:cNvGraphicFramePr>
            <a:graphicFrameLocks noGrp="1"/>
          </p:cNvGraphicFramePr>
          <p:nvPr>
            <p:extLst>
              <p:ext uri="{D42A27DB-BD31-4B8C-83A1-F6EECF244321}">
                <p14:modId xmlns:p14="http://schemas.microsoft.com/office/powerpoint/2010/main" val="2300040907"/>
              </p:ext>
            </p:extLst>
          </p:nvPr>
        </p:nvGraphicFramePr>
        <p:xfrm>
          <a:off x="276225" y="885824"/>
          <a:ext cx="11534775" cy="5610221"/>
        </p:xfrm>
        <a:graphic>
          <a:graphicData uri="http://schemas.openxmlformats.org/drawingml/2006/table">
            <a:tbl>
              <a:tblPr firstRow="1">
                <a:tableStyleId>{F5AB1C69-6EDB-4FF4-983F-18BD219EF322}</a:tableStyleId>
              </a:tblPr>
              <a:tblGrid>
                <a:gridCol w="3171825">
                  <a:extLst>
                    <a:ext uri="{9D8B030D-6E8A-4147-A177-3AD203B41FA5}">
                      <a16:colId xmlns:a16="http://schemas.microsoft.com/office/drawing/2014/main" val="4122186741"/>
                    </a:ext>
                  </a:extLst>
                </a:gridCol>
                <a:gridCol w="4459612">
                  <a:extLst>
                    <a:ext uri="{9D8B030D-6E8A-4147-A177-3AD203B41FA5}">
                      <a16:colId xmlns:a16="http://schemas.microsoft.com/office/drawing/2014/main" val="1669112823"/>
                    </a:ext>
                  </a:extLst>
                </a:gridCol>
                <a:gridCol w="3903338">
                  <a:extLst>
                    <a:ext uri="{9D8B030D-6E8A-4147-A177-3AD203B41FA5}">
                      <a16:colId xmlns:a16="http://schemas.microsoft.com/office/drawing/2014/main" val="1805420875"/>
                    </a:ext>
                  </a:extLst>
                </a:gridCol>
              </a:tblGrid>
              <a:tr h="510019">
                <a:tc>
                  <a:txBody>
                    <a:bodyPr/>
                    <a:lstStyle/>
                    <a:p>
                      <a:pPr algn="ctr" fontAlgn="ctr"/>
                      <a:r>
                        <a:rPr lang="en-IN" sz="1600" u="none" strike="noStrike" dirty="0">
                          <a:effectLst/>
                        </a:rPr>
                        <a:t>Recommendation</a:t>
                      </a:r>
                      <a:endParaRPr lang="en-IN" sz="1600" b="1" i="0" u="none" strike="noStrike" dirty="0">
                        <a:solidFill>
                          <a:srgbClr val="000000"/>
                        </a:solidFill>
                        <a:effectLst/>
                        <a:latin typeface="Aptos Narrow" panose="020B0004020202020204" pitchFamily="34" charset="0"/>
                      </a:endParaRPr>
                    </a:p>
                  </a:txBody>
                  <a:tcPr marL="9400" marR="9400" marT="9400" marB="0" anchor="ctr"/>
                </a:tc>
                <a:tc>
                  <a:txBody>
                    <a:bodyPr/>
                    <a:lstStyle/>
                    <a:p>
                      <a:pPr algn="ctr" fontAlgn="ctr"/>
                      <a:r>
                        <a:rPr lang="en-IN" sz="1600" u="none" strike="noStrike" dirty="0">
                          <a:effectLst/>
                        </a:rPr>
                        <a:t>Action</a:t>
                      </a:r>
                      <a:endParaRPr lang="en-IN" sz="1600" b="1" i="0" u="none" strike="noStrike" dirty="0">
                        <a:solidFill>
                          <a:srgbClr val="000000"/>
                        </a:solidFill>
                        <a:effectLst/>
                        <a:latin typeface="Aptos Narrow" panose="020B0004020202020204" pitchFamily="34" charset="0"/>
                      </a:endParaRPr>
                    </a:p>
                  </a:txBody>
                  <a:tcPr marL="9400" marR="9400" marT="9400" marB="0" anchor="ctr"/>
                </a:tc>
                <a:tc>
                  <a:txBody>
                    <a:bodyPr/>
                    <a:lstStyle/>
                    <a:p>
                      <a:pPr algn="ctr" fontAlgn="ctr"/>
                      <a:r>
                        <a:rPr lang="en-IN" sz="1600" u="none" strike="noStrike" dirty="0">
                          <a:effectLst/>
                        </a:rPr>
                        <a:t>Monitoring</a:t>
                      </a:r>
                      <a:endParaRPr lang="en-IN" sz="1600" b="1" i="0" u="none" strike="noStrike" dirty="0">
                        <a:solidFill>
                          <a:srgbClr val="000000"/>
                        </a:solidFill>
                        <a:effectLst/>
                        <a:latin typeface="Aptos Narrow" panose="020B0004020202020204" pitchFamily="34" charset="0"/>
                      </a:endParaRPr>
                    </a:p>
                  </a:txBody>
                  <a:tcPr marL="9400" marR="9400" marT="9400" marB="0" anchor="ctr"/>
                </a:tc>
                <a:extLst>
                  <a:ext uri="{0D108BD9-81ED-4DB2-BD59-A6C34878D82A}">
                    <a16:rowId xmlns:a16="http://schemas.microsoft.com/office/drawing/2014/main" val="921264871"/>
                  </a:ext>
                </a:extLst>
              </a:tr>
              <a:tr h="1020040">
                <a:tc>
                  <a:txBody>
                    <a:bodyPr/>
                    <a:lstStyle/>
                    <a:p>
                      <a:pPr algn="l" fontAlgn="ctr"/>
                      <a:r>
                        <a:rPr lang="en-US" sz="1600" u="none" strike="noStrike" dirty="0">
                          <a:effectLst/>
                        </a:rPr>
                        <a:t>Optimize Inventory for High-Cost SKUs</a:t>
                      </a:r>
                      <a:endParaRPr lang="en-US" sz="1600" b="1" i="0" u="none" strike="noStrike" dirty="0">
                        <a:solidFill>
                          <a:srgbClr val="000000"/>
                        </a:solidFill>
                        <a:effectLst/>
                        <a:latin typeface="Aptos Narrow" panose="020B0004020202020204" pitchFamily="34" charset="0"/>
                      </a:endParaRPr>
                    </a:p>
                  </a:txBody>
                  <a:tcPr marL="9400" marR="9400" marT="9400" marB="0" anchor="ctr"/>
                </a:tc>
                <a:tc>
                  <a:txBody>
                    <a:bodyPr/>
                    <a:lstStyle/>
                    <a:p>
                      <a:pPr algn="l" fontAlgn="ctr"/>
                      <a:r>
                        <a:rPr lang="en-US" sz="1600" u="none" strike="noStrike" dirty="0">
                          <a:effectLst/>
                        </a:rPr>
                        <a:t>Adjust reorder points and safety stock levels for high-carrying-cost SKUs to minimize holding costs.</a:t>
                      </a:r>
                      <a:endParaRPr lang="en-US" sz="1600" b="0" i="0" u="none" strike="noStrike" dirty="0">
                        <a:solidFill>
                          <a:srgbClr val="000000"/>
                        </a:solidFill>
                        <a:effectLst/>
                        <a:latin typeface="Aptos Narrow" panose="020B0004020202020204" pitchFamily="34" charset="0"/>
                      </a:endParaRPr>
                    </a:p>
                  </a:txBody>
                  <a:tcPr marL="9400" marR="9400" marT="9400" marB="0" anchor="ctr"/>
                </a:tc>
                <a:tc>
                  <a:txBody>
                    <a:bodyPr/>
                    <a:lstStyle/>
                    <a:p>
                      <a:pPr algn="l" fontAlgn="ctr"/>
                      <a:r>
                        <a:rPr lang="en-US" sz="1600" u="none" strike="noStrike" dirty="0">
                          <a:effectLst/>
                        </a:rPr>
                        <a:t>Track monthly carrying costs and assess E&amp;O levels for targeted SKUs to evaluate financial impact.</a:t>
                      </a:r>
                      <a:endParaRPr lang="en-US" sz="1600" b="0" i="0" u="none" strike="noStrike" dirty="0">
                        <a:solidFill>
                          <a:srgbClr val="000000"/>
                        </a:solidFill>
                        <a:effectLst/>
                        <a:latin typeface="Aptos Narrow" panose="020B0004020202020204" pitchFamily="34" charset="0"/>
                      </a:endParaRPr>
                    </a:p>
                  </a:txBody>
                  <a:tcPr marL="9400" marR="9400" marT="9400" marB="0" anchor="ctr"/>
                </a:tc>
                <a:extLst>
                  <a:ext uri="{0D108BD9-81ED-4DB2-BD59-A6C34878D82A}">
                    <a16:rowId xmlns:a16="http://schemas.microsoft.com/office/drawing/2014/main" val="4257293517"/>
                  </a:ext>
                </a:extLst>
              </a:tr>
              <a:tr h="1530061">
                <a:tc>
                  <a:txBody>
                    <a:bodyPr/>
                    <a:lstStyle/>
                    <a:p>
                      <a:pPr algn="l" fontAlgn="ctr"/>
                      <a:r>
                        <a:rPr lang="en-IN" sz="1600" u="none" strike="noStrike">
                          <a:effectLst/>
                        </a:rPr>
                        <a:t>Implement Dynamic Demand-Based Adjustments</a:t>
                      </a:r>
                      <a:endParaRPr lang="en-IN" sz="1600" b="1" i="0" u="none" strike="noStrike">
                        <a:solidFill>
                          <a:srgbClr val="000000"/>
                        </a:solidFill>
                        <a:effectLst/>
                        <a:latin typeface="Aptos Narrow" panose="020B0004020202020204" pitchFamily="34" charset="0"/>
                      </a:endParaRPr>
                    </a:p>
                  </a:txBody>
                  <a:tcPr marL="9400" marR="9400" marT="9400" marB="0" anchor="ctr"/>
                </a:tc>
                <a:tc>
                  <a:txBody>
                    <a:bodyPr/>
                    <a:lstStyle/>
                    <a:p>
                      <a:pPr algn="l" fontAlgn="ctr"/>
                      <a:r>
                        <a:rPr lang="en-US" sz="1600" u="none" strike="noStrike" dirty="0">
                          <a:effectLst/>
                        </a:rPr>
                        <a:t>Use flexible forecasting models for SKUs with high demand variability; adjust safety stock policies to match demand changes.</a:t>
                      </a:r>
                      <a:endParaRPr lang="en-US" sz="1600" b="0" i="0" u="none" strike="noStrike" dirty="0">
                        <a:solidFill>
                          <a:srgbClr val="000000"/>
                        </a:solidFill>
                        <a:effectLst/>
                        <a:latin typeface="Aptos Narrow" panose="020B0004020202020204" pitchFamily="34" charset="0"/>
                      </a:endParaRPr>
                    </a:p>
                  </a:txBody>
                  <a:tcPr marL="9400" marR="9400" marT="9400" marB="0" anchor="ctr"/>
                </a:tc>
                <a:tc>
                  <a:txBody>
                    <a:bodyPr/>
                    <a:lstStyle/>
                    <a:p>
                      <a:pPr algn="l" fontAlgn="ctr"/>
                      <a:r>
                        <a:rPr lang="en-US" sz="1600" u="none" strike="noStrike">
                          <a:effectLst/>
                        </a:rPr>
                        <a:t>Conduct quarterly reviews of forecast accuracy and adjust as needed to maintain responsiveness.</a:t>
                      </a:r>
                      <a:endParaRPr lang="en-US" sz="1600" b="0" i="0" u="none" strike="noStrike">
                        <a:solidFill>
                          <a:srgbClr val="000000"/>
                        </a:solidFill>
                        <a:effectLst/>
                        <a:latin typeface="Aptos Narrow" panose="020B0004020202020204" pitchFamily="34" charset="0"/>
                      </a:endParaRPr>
                    </a:p>
                  </a:txBody>
                  <a:tcPr marL="9400" marR="9400" marT="9400" marB="0" anchor="ctr"/>
                </a:tc>
                <a:extLst>
                  <a:ext uri="{0D108BD9-81ED-4DB2-BD59-A6C34878D82A}">
                    <a16:rowId xmlns:a16="http://schemas.microsoft.com/office/drawing/2014/main" val="3323180192"/>
                  </a:ext>
                </a:extLst>
              </a:tr>
              <a:tr h="1530061">
                <a:tc>
                  <a:txBody>
                    <a:bodyPr/>
                    <a:lstStyle/>
                    <a:p>
                      <a:pPr algn="l" fontAlgn="ctr"/>
                      <a:r>
                        <a:rPr lang="en-US" sz="1600" u="none" strike="noStrike">
                          <a:effectLst/>
                        </a:rPr>
                        <a:t>Collaborate with Suppliers to Manage Lead Time Variability</a:t>
                      </a:r>
                      <a:endParaRPr lang="en-US" sz="1600" b="1" i="0" u="none" strike="noStrike">
                        <a:solidFill>
                          <a:srgbClr val="000000"/>
                        </a:solidFill>
                        <a:effectLst/>
                        <a:latin typeface="Aptos Narrow" panose="020B0004020202020204" pitchFamily="34" charset="0"/>
                      </a:endParaRPr>
                    </a:p>
                  </a:txBody>
                  <a:tcPr marL="9400" marR="9400" marT="9400" marB="0" anchor="ctr"/>
                </a:tc>
                <a:tc>
                  <a:txBody>
                    <a:bodyPr/>
                    <a:lstStyle/>
                    <a:p>
                      <a:pPr algn="l" fontAlgn="ctr"/>
                      <a:r>
                        <a:rPr lang="en-US" sz="1600" u="none" strike="noStrike" dirty="0">
                          <a:effectLst/>
                        </a:rPr>
                        <a:t>Work with suppliers to stabilize lead times; for high variability, negotiate reliable schedules or adjust buffer stock.</a:t>
                      </a:r>
                      <a:endParaRPr lang="en-US" sz="1600" b="0" i="0" u="none" strike="noStrike" dirty="0">
                        <a:solidFill>
                          <a:srgbClr val="000000"/>
                        </a:solidFill>
                        <a:effectLst/>
                        <a:latin typeface="Aptos Narrow" panose="020B0004020202020204" pitchFamily="34" charset="0"/>
                      </a:endParaRPr>
                    </a:p>
                  </a:txBody>
                  <a:tcPr marL="9400" marR="9400" marT="9400" marB="0" anchor="ctr"/>
                </a:tc>
                <a:tc>
                  <a:txBody>
                    <a:bodyPr/>
                    <a:lstStyle/>
                    <a:p>
                      <a:pPr algn="l" fontAlgn="ctr"/>
                      <a:r>
                        <a:rPr lang="en-US" sz="1600" u="none" strike="noStrike" dirty="0">
                          <a:effectLst/>
                        </a:rPr>
                        <a:t>Perform biannual lead time reviews and adjust safety stock policies based on supplier performance.</a:t>
                      </a:r>
                      <a:endParaRPr lang="en-US" sz="1600" b="0" i="0" u="none" strike="noStrike" dirty="0">
                        <a:solidFill>
                          <a:srgbClr val="000000"/>
                        </a:solidFill>
                        <a:effectLst/>
                        <a:latin typeface="Aptos Narrow" panose="020B0004020202020204" pitchFamily="34" charset="0"/>
                      </a:endParaRPr>
                    </a:p>
                  </a:txBody>
                  <a:tcPr marL="9400" marR="9400" marT="9400" marB="0" anchor="ctr"/>
                </a:tc>
                <a:extLst>
                  <a:ext uri="{0D108BD9-81ED-4DB2-BD59-A6C34878D82A}">
                    <a16:rowId xmlns:a16="http://schemas.microsoft.com/office/drawing/2014/main" val="405977744"/>
                  </a:ext>
                </a:extLst>
              </a:tr>
              <a:tr h="1020040">
                <a:tc>
                  <a:txBody>
                    <a:bodyPr/>
                    <a:lstStyle/>
                    <a:p>
                      <a:pPr algn="l" fontAlgn="ctr"/>
                      <a:r>
                        <a:rPr lang="en-US" sz="1600" u="none" strike="noStrike">
                          <a:effectLst/>
                        </a:rPr>
                        <a:t>Lifecycle and Shelf-Life Management for Decline-Phase Products</a:t>
                      </a:r>
                      <a:endParaRPr lang="en-US" sz="1600" b="1" i="0" u="none" strike="noStrike">
                        <a:solidFill>
                          <a:srgbClr val="000000"/>
                        </a:solidFill>
                        <a:effectLst/>
                        <a:latin typeface="Aptos Narrow" panose="020B0004020202020204" pitchFamily="34" charset="0"/>
                      </a:endParaRPr>
                    </a:p>
                  </a:txBody>
                  <a:tcPr marL="9400" marR="9400" marT="9400" marB="0" anchor="ctr"/>
                </a:tc>
                <a:tc>
                  <a:txBody>
                    <a:bodyPr/>
                    <a:lstStyle/>
                    <a:p>
                      <a:pPr algn="l" fontAlgn="ctr"/>
                      <a:r>
                        <a:rPr lang="en-US" sz="1600" u="none" strike="noStrike">
                          <a:effectLst/>
                        </a:rPr>
                        <a:t>Implement markdown strategies and inventory reductions for products in Decline phase to minimize obsolescence.</a:t>
                      </a:r>
                      <a:endParaRPr lang="en-US" sz="1600" b="0" i="0" u="none" strike="noStrike">
                        <a:solidFill>
                          <a:srgbClr val="000000"/>
                        </a:solidFill>
                        <a:effectLst/>
                        <a:latin typeface="Aptos Narrow" panose="020B0004020202020204" pitchFamily="34" charset="0"/>
                      </a:endParaRPr>
                    </a:p>
                  </a:txBody>
                  <a:tcPr marL="9400" marR="9400" marT="9400" marB="0" anchor="ctr"/>
                </a:tc>
                <a:tc>
                  <a:txBody>
                    <a:bodyPr/>
                    <a:lstStyle/>
                    <a:p>
                      <a:pPr algn="l" fontAlgn="ctr"/>
                      <a:r>
                        <a:rPr lang="en-US" sz="1600" u="none" strike="noStrike" dirty="0">
                          <a:effectLst/>
                        </a:rPr>
                        <a:t>Monthly review of SKUs in Decline phase, ensuring inventory levels align with projected lifecycle stages.</a:t>
                      </a:r>
                      <a:endParaRPr lang="en-US" sz="1600" b="0" i="0" u="none" strike="noStrike" dirty="0">
                        <a:solidFill>
                          <a:srgbClr val="000000"/>
                        </a:solidFill>
                        <a:effectLst/>
                        <a:latin typeface="Aptos Narrow" panose="020B0004020202020204" pitchFamily="34" charset="0"/>
                      </a:endParaRPr>
                    </a:p>
                  </a:txBody>
                  <a:tcPr marL="9400" marR="9400" marT="9400" marB="0" anchor="ctr"/>
                </a:tc>
                <a:extLst>
                  <a:ext uri="{0D108BD9-81ED-4DB2-BD59-A6C34878D82A}">
                    <a16:rowId xmlns:a16="http://schemas.microsoft.com/office/drawing/2014/main" val="306830352"/>
                  </a:ext>
                </a:extLst>
              </a:tr>
            </a:tbl>
          </a:graphicData>
        </a:graphic>
      </p:graphicFrame>
    </p:spTree>
    <p:extLst>
      <p:ext uri="{BB962C8B-B14F-4D97-AF65-F5344CB8AC3E}">
        <p14:creationId xmlns:p14="http://schemas.microsoft.com/office/powerpoint/2010/main" val="23139638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9402D1A5-20B5-CC2D-B791-B1990233BA22}"/>
              </a:ext>
            </a:extLst>
          </p:cNvPr>
          <p:cNvSpPr txBox="1"/>
          <p:nvPr/>
        </p:nvSpPr>
        <p:spPr>
          <a:xfrm>
            <a:off x="-1" y="93018"/>
            <a:ext cx="12368463" cy="523220"/>
          </a:xfrm>
          <a:prstGeom prst="rect">
            <a:avLst/>
          </a:prstGeom>
          <a:noFill/>
        </p:spPr>
        <p:txBody>
          <a:bodyPr wrap="square" rtlCol="0">
            <a:spAutoFit/>
          </a:bodyPr>
          <a:lstStyle/>
          <a:p>
            <a:r>
              <a:rPr lang="en-US" sz="2800" b="1" dirty="0"/>
              <a:t>5.2 Recommendations for Reducing E&amp;O Inventory</a:t>
            </a:r>
          </a:p>
        </p:txBody>
      </p:sp>
      <p:cxnSp>
        <p:nvCxnSpPr>
          <p:cNvPr id="3" name="Straight Connector 2">
            <a:extLst>
              <a:ext uri="{FF2B5EF4-FFF2-40B4-BE49-F238E27FC236}">
                <a16:creationId xmlns:a16="http://schemas.microsoft.com/office/drawing/2014/main" id="{BAC8A142-3EAB-A42A-568F-650CD1B0F37B}"/>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1BA1BA42-4B7F-3A23-DA42-4483225DE8E8}"/>
              </a:ext>
            </a:extLst>
          </p:cNvPr>
          <p:cNvSpPr txBox="1"/>
          <p:nvPr/>
        </p:nvSpPr>
        <p:spPr>
          <a:xfrm>
            <a:off x="123730" y="754195"/>
            <a:ext cx="10702766" cy="6001643"/>
          </a:xfrm>
          <a:prstGeom prst="rect">
            <a:avLst/>
          </a:prstGeom>
          <a:noFill/>
        </p:spPr>
        <p:txBody>
          <a:bodyPr wrap="square" rtlCol="0">
            <a:spAutoFit/>
          </a:bodyPr>
          <a:lstStyle/>
          <a:p>
            <a:pPr marL="285750" indent="-285750" algn="just">
              <a:buFont typeface="Arial" panose="020B0604020202020204" pitchFamily="34" charset="0"/>
              <a:buChar char="•"/>
            </a:pPr>
            <a:r>
              <a:rPr lang="en-US" sz="1600" b="1" dirty="0"/>
              <a:t>Enhance Forecasting Models:</a:t>
            </a:r>
          </a:p>
          <a:p>
            <a:pPr marL="742950" lvl="1" indent="-285750" algn="just">
              <a:buFont typeface="Arial" panose="020B0604020202020204" pitchFamily="34" charset="0"/>
              <a:buChar char="•"/>
            </a:pPr>
            <a:r>
              <a:rPr lang="en-US" sz="1600" b="1" dirty="0"/>
              <a:t>Action</a:t>
            </a:r>
            <a:r>
              <a:rPr lang="en-US" sz="1600" dirty="0"/>
              <a:t>: Focus on improving forecast accuracy for SKUs with high demand variability, using advanced forecasting methods that consider seasonality and trends.</a:t>
            </a:r>
          </a:p>
          <a:p>
            <a:pPr marL="742950" lvl="1" indent="-285750" algn="just">
              <a:buFont typeface="Arial" panose="020B0604020202020204" pitchFamily="34" charset="0"/>
              <a:buChar char="•"/>
            </a:pPr>
            <a:r>
              <a:rPr lang="en-US" sz="1600" b="1" dirty="0"/>
              <a:t>Expected</a:t>
            </a:r>
            <a:r>
              <a:rPr lang="en-US" sz="1600" dirty="0"/>
              <a:t> </a:t>
            </a:r>
            <a:r>
              <a:rPr lang="en-US" sz="1600" b="1" dirty="0"/>
              <a:t>Impact</a:t>
            </a:r>
            <a:r>
              <a:rPr lang="en-US" sz="1600" dirty="0"/>
              <a:t>: Reduced excess inventory and improved alignment with real demand.</a:t>
            </a:r>
          </a:p>
          <a:p>
            <a:pPr marL="742950" lvl="1"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b="1" dirty="0"/>
              <a:t>Optimize Safety Stock with Dynamic Adjustments:</a:t>
            </a:r>
          </a:p>
          <a:p>
            <a:pPr marL="742950" lvl="1" indent="-285750" algn="just">
              <a:buFont typeface="Arial" panose="020B0604020202020204" pitchFamily="34" charset="0"/>
              <a:buChar char="•"/>
            </a:pPr>
            <a:r>
              <a:rPr lang="en-US" sz="1600" b="1" dirty="0"/>
              <a:t>Action</a:t>
            </a:r>
            <a:r>
              <a:rPr lang="en-US" sz="1600" dirty="0"/>
              <a:t>: Implement dynamic safety stock calculations that account for supplier lead time variability.</a:t>
            </a:r>
          </a:p>
          <a:p>
            <a:pPr marL="742950" lvl="1" indent="-285750" algn="just">
              <a:buFont typeface="Arial" panose="020B0604020202020204" pitchFamily="34" charset="0"/>
              <a:buChar char="•"/>
            </a:pPr>
            <a:r>
              <a:rPr lang="en-US" sz="1600" b="1" dirty="0"/>
              <a:t>Expected Impact: </a:t>
            </a:r>
            <a:r>
              <a:rPr lang="en-US" sz="1600" dirty="0"/>
              <a:t>Lower excess stock levels and reduced carrying costs by aligning inventory with actual supplier performance.</a:t>
            </a:r>
          </a:p>
          <a:p>
            <a:pPr marL="742950" lvl="1"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b="1" dirty="0"/>
              <a:t>Proactive Lifecycle Management:</a:t>
            </a:r>
          </a:p>
          <a:p>
            <a:pPr marL="742950" lvl="1" indent="-285750" algn="just">
              <a:buFont typeface="Arial" panose="020B0604020202020204" pitchFamily="34" charset="0"/>
              <a:buChar char="•"/>
            </a:pPr>
            <a:r>
              <a:rPr lang="en-US" sz="1600" b="1" dirty="0"/>
              <a:t>Action</a:t>
            </a:r>
            <a:r>
              <a:rPr lang="en-US" sz="1600" dirty="0"/>
              <a:t>: Prioritize SKUs in the Decline phase for inventory reduction strategies, such as phased-out production or targeted discounting.</a:t>
            </a:r>
          </a:p>
          <a:p>
            <a:pPr marL="742950" lvl="1" indent="-285750" algn="just">
              <a:buFont typeface="Arial" panose="020B0604020202020204" pitchFamily="34" charset="0"/>
              <a:buChar char="•"/>
            </a:pPr>
            <a:r>
              <a:rPr lang="en-US" sz="1600" b="1" dirty="0"/>
              <a:t>Expected Impact: </a:t>
            </a:r>
            <a:r>
              <a:rPr lang="en-US" sz="1600" dirty="0"/>
              <a:t>Minimized obsolescence costs and reduced financial risk from unsellable stock.</a:t>
            </a:r>
          </a:p>
          <a:p>
            <a:pPr marL="742950" lvl="1"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b="1" dirty="0"/>
              <a:t>Seasonal Stock Adjustments for High-Variability Subdivisions:</a:t>
            </a:r>
          </a:p>
          <a:p>
            <a:pPr marL="742950" lvl="1" indent="-285750" algn="just">
              <a:buFont typeface="Arial" panose="020B0604020202020204" pitchFamily="34" charset="0"/>
              <a:buChar char="•"/>
            </a:pPr>
            <a:r>
              <a:rPr lang="en-US" sz="1600" b="1" dirty="0"/>
              <a:t>Action</a:t>
            </a:r>
            <a:r>
              <a:rPr lang="en-US" sz="1600" dirty="0"/>
              <a:t>: Adjust inventory levels for seasonal products, based on historical demand peaks and troughs.</a:t>
            </a:r>
          </a:p>
          <a:p>
            <a:pPr marL="742950" lvl="1" indent="-285750" algn="just">
              <a:buFont typeface="Arial" panose="020B0604020202020204" pitchFamily="34" charset="0"/>
              <a:buChar char="•"/>
            </a:pPr>
            <a:r>
              <a:rPr lang="en-US" sz="1600" b="1" dirty="0"/>
              <a:t>Expected</a:t>
            </a:r>
            <a:r>
              <a:rPr lang="en-US" sz="1600" dirty="0"/>
              <a:t> </a:t>
            </a:r>
            <a:r>
              <a:rPr lang="en-US" sz="1600" b="1" dirty="0"/>
              <a:t>Impact</a:t>
            </a:r>
            <a:r>
              <a:rPr lang="en-US" sz="1600" dirty="0"/>
              <a:t>: Reduced inventory during low-demand periods, minimizing excess stock and obsolescence.</a:t>
            </a:r>
          </a:p>
          <a:p>
            <a:pPr marL="742950" lvl="1"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b="1" dirty="0"/>
              <a:t>Implement Real-Time Dashboards and Alerts:</a:t>
            </a:r>
          </a:p>
          <a:p>
            <a:pPr marL="742950" lvl="1" indent="-285750" algn="just">
              <a:buFont typeface="Arial" panose="020B0604020202020204" pitchFamily="34" charset="0"/>
              <a:buChar char="•"/>
            </a:pPr>
            <a:r>
              <a:rPr lang="en-US" sz="1600" b="1" dirty="0"/>
              <a:t>Action</a:t>
            </a:r>
            <a:r>
              <a:rPr lang="en-US" sz="1600" dirty="0"/>
              <a:t>: Develop dashboards to track forecast accuracy, lead time variability, and SKU lifecycle status, with alerts for SKUs nearing risk thresholds.</a:t>
            </a:r>
          </a:p>
          <a:p>
            <a:pPr marL="742950" lvl="1" indent="-285750" algn="just">
              <a:buFont typeface="Arial" panose="020B0604020202020204" pitchFamily="34" charset="0"/>
              <a:buChar char="•"/>
            </a:pPr>
            <a:r>
              <a:rPr lang="en-US" sz="1600" b="1" dirty="0"/>
              <a:t>Expected</a:t>
            </a:r>
            <a:r>
              <a:rPr lang="en-US" sz="1600" dirty="0"/>
              <a:t> </a:t>
            </a:r>
            <a:r>
              <a:rPr lang="en-US" sz="1600" b="1" dirty="0"/>
              <a:t>Impact</a:t>
            </a:r>
            <a:r>
              <a:rPr lang="en-US" sz="1600" dirty="0"/>
              <a:t>: Enables proactive management, empowering planners to take timely action to prevent excess and obsolete inventory.</a:t>
            </a:r>
          </a:p>
        </p:txBody>
      </p:sp>
      <p:pic>
        <p:nvPicPr>
          <p:cNvPr id="1026" name="Picture 2" descr="Chart icon">
            <a:extLst>
              <a:ext uri="{FF2B5EF4-FFF2-40B4-BE49-F238E27FC236}">
                <a16:creationId xmlns:a16="http://schemas.microsoft.com/office/drawing/2014/main" id="{A26474A6-419C-59E3-B84C-141C2D0EDB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942068" y="842777"/>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Growth icon">
            <a:extLst>
              <a:ext uri="{FF2B5EF4-FFF2-40B4-BE49-F238E27FC236}">
                <a16:creationId xmlns:a16="http://schemas.microsoft.com/office/drawing/2014/main" id="{A5432B22-45FD-2762-F4EB-AA389DCF24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942068" y="2100840"/>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iscipline icon">
            <a:extLst>
              <a:ext uri="{FF2B5EF4-FFF2-40B4-BE49-F238E27FC236}">
                <a16:creationId xmlns:a16="http://schemas.microsoft.com/office/drawing/2014/main" id="{E36ABFD1-21A7-6161-0BD4-F55A6D2A5B7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24032" y="3348616"/>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hart icon">
            <a:extLst>
              <a:ext uri="{FF2B5EF4-FFF2-40B4-BE49-F238E27FC236}">
                <a16:creationId xmlns:a16="http://schemas.microsoft.com/office/drawing/2014/main" id="{C77DEAD3-13E2-55AF-8060-5457E8EC16F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42068" y="4512504"/>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Schedule icon">
            <a:extLst>
              <a:ext uri="{FF2B5EF4-FFF2-40B4-BE49-F238E27FC236}">
                <a16:creationId xmlns:a16="http://schemas.microsoft.com/office/drawing/2014/main" id="{4C9418BF-AEC3-77A3-0B2D-75B4AA9F68D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921236" y="5676392"/>
            <a:ext cx="540000" cy="5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30915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CFBF5BA-FFA3-94CD-9FF0-7BA23A3D3E1D}"/>
              </a:ext>
            </a:extLst>
          </p:cNvPr>
          <p:cNvGraphicFramePr>
            <a:graphicFrameLocks noChangeAspect="1"/>
          </p:cNvGraphicFramePr>
          <p:nvPr>
            <p:custDataLst>
              <p:tags r:id="rId1"/>
            </p:custDataLst>
            <p:extLst>
              <p:ext uri="{D42A27DB-BD31-4B8C-83A1-F6EECF244321}">
                <p14:modId xmlns:p14="http://schemas.microsoft.com/office/powerpoint/2010/main" val="4076309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6" name="think-cell data - do not delete" hidden="1">
                        <a:extLst>
                          <a:ext uri="{FF2B5EF4-FFF2-40B4-BE49-F238E27FC236}">
                            <a16:creationId xmlns:a16="http://schemas.microsoft.com/office/drawing/2014/main" id="{ACFBF5BA-FFA3-94CD-9FF0-7BA23A3D3E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C7BA42A1-EAC2-A2F8-E777-C340B2A8ECB6}"/>
              </a:ext>
            </a:extLst>
          </p:cNvPr>
          <p:cNvSpPr txBox="1"/>
          <p:nvPr/>
        </p:nvSpPr>
        <p:spPr>
          <a:xfrm>
            <a:off x="-1" y="93018"/>
            <a:ext cx="12368463" cy="523220"/>
          </a:xfrm>
          <a:prstGeom prst="rect">
            <a:avLst/>
          </a:prstGeom>
          <a:noFill/>
        </p:spPr>
        <p:txBody>
          <a:bodyPr wrap="square" rtlCol="0">
            <a:spAutoFit/>
          </a:bodyPr>
          <a:lstStyle/>
          <a:p>
            <a:r>
              <a:rPr lang="en-US" sz="2800" b="1" dirty="0"/>
              <a:t>5.3 Implementation Roadmap</a:t>
            </a:r>
          </a:p>
        </p:txBody>
      </p:sp>
      <p:cxnSp>
        <p:nvCxnSpPr>
          <p:cNvPr id="5" name="Straight Connector 4">
            <a:extLst>
              <a:ext uri="{FF2B5EF4-FFF2-40B4-BE49-F238E27FC236}">
                <a16:creationId xmlns:a16="http://schemas.microsoft.com/office/drawing/2014/main" id="{02CE551A-CC0F-2F53-62E3-8EB142ABD547}"/>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7" name="Rectangle: Rounded Corners 6">
            <a:extLst>
              <a:ext uri="{FF2B5EF4-FFF2-40B4-BE49-F238E27FC236}">
                <a16:creationId xmlns:a16="http://schemas.microsoft.com/office/drawing/2014/main" id="{3DCAC004-4CFC-4C27-0D46-5EEA968EA1CA}"/>
              </a:ext>
            </a:extLst>
          </p:cNvPr>
          <p:cNvSpPr/>
          <p:nvPr/>
        </p:nvSpPr>
        <p:spPr>
          <a:xfrm>
            <a:off x="1051557" y="1173052"/>
            <a:ext cx="1944000" cy="1296890"/>
          </a:xfrm>
          <a:prstGeom prst="round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IN" sz="1400" dirty="0"/>
              <a:t>Enhance Forecasting Accuracy</a:t>
            </a:r>
          </a:p>
        </p:txBody>
      </p:sp>
      <p:sp>
        <p:nvSpPr>
          <p:cNvPr id="8" name="Rectangle: Rounded Corners 7">
            <a:extLst>
              <a:ext uri="{FF2B5EF4-FFF2-40B4-BE49-F238E27FC236}">
                <a16:creationId xmlns:a16="http://schemas.microsoft.com/office/drawing/2014/main" id="{82A18AEF-D4FA-E642-DAB9-F926C9378D8E}"/>
              </a:ext>
            </a:extLst>
          </p:cNvPr>
          <p:cNvSpPr/>
          <p:nvPr/>
        </p:nvSpPr>
        <p:spPr>
          <a:xfrm>
            <a:off x="3276598" y="1173052"/>
            <a:ext cx="1944000" cy="1296890"/>
          </a:xfrm>
          <a:prstGeom prst="round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IN" sz="1400" dirty="0"/>
              <a:t>Dynamic Safety Stock Adjustments</a:t>
            </a:r>
          </a:p>
        </p:txBody>
      </p:sp>
      <p:sp>
        <p:nvSpPr>
          <p:cNvPr id="9" name="Rectangle: Rounded Corners 8">
            <a:extLst>
              <a:ext uri="{FF2B5EF4-FFF2-40B4-BE49-F238E27FC236}">
                <a16:creationId xmlns:a16="http://schemas.microsoft.com/office/drawing/2014/main" id="{57407D6B-C5C2-CB8A-E7DD-13998E82D133}"/>
              </a:ext>
            </a:extLst>
          </p:cNvPr>
          <p:cNvSpPr/>
          <p:nvPr/>
        </p:nvSpPr>
        <p:spPr>
          <a:xfrm>
            <a:off x="5501639" y="1173052"/>
            <a:ext cx="1944000" cy="1296890"/>
          </a:xfrm>
          <a:prstGeom prst="round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IN" sz="1400" dirty="0"/>
              <a:t>Proactive Lifecycle Management</a:t>
            </a:r>
          </a:p>
        </p:txBody>
      </p:sp>
      <p:sp>
        <p:nvSpPr>
          <p:cNvPr id="10" name="Rectangle: Rounded Corners 9">
            <a:extLst>
              <a:ext uri="{FF2B5EF4-FFF2-40B4-BE49-F238E27FC236}">
                <a16:creationId xmlns:a16="http://schemas.microsoft.com/office/drawing/2014/main" id="{3D860964-9C31-71A0-AAF4-D92A3EF6ADFD}"/>
              </a:ext>
            </a:extLst>
          </p:cNvPr>
          <p:cNvSpPr/>
          <p:nvPr/>
        </p:nvSpPr>
        <p:spPr>
          <a:xfrm>
            <a:off x="7726680" y="1173052"/>
            <a:ext cx="1944000" cy="1296890"/>
          </a:xfrm>
          <a:prstGeom prst="round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IN" sz="1400" dirty="0"/>
              <a:t>Seasonal Stock Adjustments</a:t>
            </a:r>
          </a:p>
        </p:txBody>
      </p:sp>
      <p:sp>
        <p:nvSpPr>
          <p:cNvPr id="11" name="Rectangle: Rounded Corners 10">
            <a:extLst>
              <a:ext uri="{FF2B5EF4-FFF2-40B4-BE49-F238E27FC236}">
                <a16:creationId xmlns:a16="http://schemas.microsoft.com/office/drawing/2014/main" id="{B4C421A7-FE6A-7163-FD8B-C3ABEA25A746}"/>
              </a:ext>
            </a:extLst>
          </p:cNvPr>
          <p:cNvSpPr/>
          <p:nvPr/>
        </p:nvSpPr>
        <p:spPr>
          <a:xfrm>
            <a:off x="9951721" y="1173052"/>
            <a:ext cx="1944000" cy="1296890"/>
          </a:xfrm>
          <a:prstGeom prst="round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a:t>Dashboard Development and Alert Integration</a:t>
            </a:r>
            <a:endParaRPr lang="en-IN" sz="1400" dirty="0"/>
          </a:p>
        </p:txBody>
      </p:sp>
      <p:sp>
        <p:nvSpPr>
          <p:cNvPr id="12" name="Rectangle: Rounded Corners 11">
            <a:extLst>
              <a:ext uri="{FF2B5EF4-FFF2-40B4-BE49-F238E27FC236}">
                <a16:creationId xmlns:a16="http://schemas.microsoft.com/office/drawing/2014/main" id="{70A5B612-90CD-7D08-DA08-1E78E0ABA9AB}"/>
              </a:ext>
            </a:extLst>
          </p:cNvPr>
          <p:cNvSpPr/>
          <p:nvPr/>
        </p:nvSpPr>
        <p:spPr>
          <a:xfrm>
            <a:off x="155135" y="961676"/>
            <a:ext cx="615384" cy="1620000"/>
          </a:xfrm>
          <a:prstGeom prst="roundRect">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vert="vert270" rtlCol="0" anchor="ctr"/>
          <a:lstStyle/>
          <a:p>
            <a:pPr algn="ctr"/>
            <a:r>
              <a:rPr lang="en-IN" sz="2400" b="1" dirty="0"/>
              <a:t>Phase</a:t>
            </a:r>
            <a:endParaRPr lang="en-IN" sz="1400" b="1" dirty="0"/>
          </a:p>
        </p:txBody>
      </p:sp>
      <p:sp>
        <p:nvSpPr>
          <p:cNvPr id="13" name="Rectangle: Rounded Corners 12">
            <a:extLst>
              <a:ext uri="{FF2B5EF4-FFF2-40B4-BE49-F238E27FC236}">
                <a16:creationId xmlns:a16="http://schemas.microsoft.com/office/drawing/2014/main" id="{204F034F-E8C2-0099-DFDC-1AD2D9F8C633}"/>
              </a:ext>
            </a:extLst>
          </p:cNvPr>
          <p:cNvSpPr/>
          <p:nvPr/>
        </p:nvSpPr>
        <p:spPr>
          <a:xfrm>
            <a:off x="155135" y="2889501"/>
            <a:ext cx="615384" cy="1620000"/>
          </a:xfrm>
          <a:prstGeom prst="round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vert="vert270" rtlCol="0" anchor="ctr"/>
          <a:lstStyle/>
          <a:p>
            <a:pPr algn="ctr"/>
            <a:r>
              <a:rPr lang="en-IN" sz="2400" b="1" dirty="0"/>
              <a:t>Actions</a:t>
            </a:r>
            <a:endParaRPr lang="en-IN" sz="1400" b="1" dirty="0"/>
          </a:p>
        </p:txBody>
      </p:sp>
      <p:sp>
        <p:nvSpPr>
          <p:cNvPr id="14" name="Rectangle: Rounded Corners 13">
            <a:extLst>
              <a:ext uri="{FF2B5EF4-FFF2-40B4-BE49-F238E27FC236}">
                <a16:creationId xmlns:a16="http://schemas.microsoft.com/office/drawing/2014/main" id="{3D246FAD-6D57-E038-8E51-991221190D35}"/>
              </a:ext>
            </a:extLst>
          </p:cNvPr>
          <p:cNvSpPr/>
          <p:nvPr/>
        </p:nvSpPr>
        <p:spPr>
          <a:xfrm>
            <a:off x="203278" y="4809744"/>
            <a:ext cx="615384" cy="1620000"/>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vert="vert270" rtlCol="0" anchor="ctr"/>
          <a:lstStyle/>
          <a:p>
            <a:pPr algn="ctr"/>
            <a:r>
              <a:rPr lang="en-IN" sz="2400" b="1" dirty="0"/>
              <a:t>Goals</a:t>
            </a:r>
            <a:endParaRPr lang="en-IN" sz="1400" b="1" dirty="0"/>
          </a:p>
        </p:txBody>
      </p:sp>
      <p:sp>
        <p:nvSpPr>
          <p:cNvPr id="34" name="Rectangle: Rounded Corners 33">
            <a:extLst>
              <a:ext uri="{FF2B5EF4-FFF2-40B4-BE49-F238E27FC236}">
                <a16:creationId xmlns:a16="http://schemas.microsoft.com/office/drawing/2014/main" id="{91195986-F14C-98C3-F91F-C4A3483447F0}"/>
              </a:ext>
            </a:extLst>
          </p:cNvPr>
          <p:cNvSpPr/>
          <p:nvPr/>
        </p:nvSpPr>
        <p:spPr>
          <a:xfrm>
            <a:off x="1032336" y="4928439"/>
            <a:ext cx="1944000" cy="1296890"/>
          </a:xfrm>
          <a:prstGeom prst="roundRect">
            <a:avLst/>
          </a:prstGeom>
          <a:solidFill>
            <a:schemeClr val="bg1">
              <a:lumMod val="85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t>Improve accuracy for high-variability SKUs, aligning stock with demand more precisely.</a:t>
            </a:r>
          </a:p>
        </p:txBody>
      </p:sp>
      <p:sp>
        <p:nvSpPr>
          <p:cNvPr id="35" name="Rectangle: Rounded Corners 34">
            <a:extLst>
              <a:ext uri="{FF2B5EF4-FFF2-40B4-BE49-F238E27FC236}">
                <a16:creationId xmlns:a16="http://schemas.microsoft.com/office/drawing/2014/main" id="{AA1DDBE1-52B7-D694-82A7-0C9569A271F2}"/>
              </a:ext>
            </a:extLst>
          </p:cNvPr>
          <p:cNvSpPr/>
          <p:nvPr/>
        </p:nvSpPr>
        <p:spPr>
          <a:xfrm>
            <a:off x="3276598" y="4928439"/>
            <a:ext cx="1944000" cy="1296890"/>
          </a:xfrm>
          <a:prstGeom prst="roundRect">
            <a:avLst/>
          </a:prstGeom>
          <a:solidFill>
            <a:schemeClr val="bg1">
              <a:lumMod val="85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t>Reduce carrying costs by better aligning stock levels with real supplier performance.</a:t>
            </a:r>
          </a:p>
        </p:txBody>
      </p:sp>
      <p:sp>
        <p:nvSpPr>
          <p:cNvPr id="37" name="Rectangle: Rounded Corners 36">
            <a:extLst>
              <a:ext uri="{FF2B5EF4-FFF2-40B4-BE49-F238E27FC236}">
                <a16:creationId xmlns:a16="http://schemas.microsoft.com/office/drawing/2014/main" id="{BE15B4AB-721C-AFEE-2662-55B11036B65C}"/>
              </a:ext>
            </a:extLst>
          </p:cNvPr>
          <p:cNvSpPr/>
          <p:nvPr/>
        </p:nvSpPr>
        <p:spPr>
          <a:xfrm>
            <a:off x="5501011" y="4928439"/>
            <a:ext cx="1944000" cy="1296890"/>
          </a:xfrm>
          <a:prstGeom prst="roundRect">
            <a:avLst/>
          </a:prstGeom>
          <a:solidFill>
            <a:schemeClr val="bg1">
              <a:lumMod val="85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t>Minimize the financial risk of unsellable stock due to obsolescence.</a:t>
            </a:r>
          </a:p>
        </p:txBody>
      </p:sp>
      <p:sp>
        <p:nvSpPr>
          <p:cNvPr id="38" name="Rectangle: Rounded Corners 37">
            <a:extLst>
              <a:ext uri="{FF2B5EF4-FFF2-40B4-BE49-F238E27FC236}">
                <a16:creationId xmlns:a16="http://schemas.microsoft.com/office/drawing/2014/main" id="{11335253-CBD7-72EC-8ADA-75827C536A41}"/>
              </a:ext>
            </a:extLst>
          </p:cNvPr>
          <p:cNvSpPr/>
          <p:nvPr/>
        </p:nvSpPr>
        <p:spPr>
          <a:xfrm>
            <a:off x="7726048" y="4928439"/>
            <a:ext cx="1944000" cy="1296890"/>
          </a:xfrm>
          <a:prstGeom prst="roundRect">
            <a:avLst/>
          </a:prstGeom>
          <a:solidFill>
            <a:schemeClr val="bg1">
              <a:lumMod val="85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a:t>Minimize excess stock during low-demand periods to avoid obsolescence.</a:t>
            </a:r>
            <a:endParaRPr lang="en-US" sz="1400" dirty="0"/>
          </a:p>
        </p:txBody>
      </p:sp>
      <p:sp>
        <p:nvSpPr>
          <p:cNvPr id="39" name="Rectangle: Rounded Corners 38">
            <a:extLst>
              <a:ext uri="{FF2B5EF4-FFF2-40B4-BE49-F238E27FC236}">
                <a16:creationId xmlns:a16="http://schemas.microsoft.com/office/drawing/2014/main" id="{639B12AE-084F-8FC1-F2FB-140B9C2A1CA0}"/>
              </a:ext>
            </a:extLst>
          </p:cNvPr>
          <p:cNvSpPr/>
          <p:nvPr/>
        </p:nvSpPr>
        <p:spPr>
          <a:xfrm>
            <a:off x="9951085" y="4928439"/>
            <a:ext cx="1944000" cy="1296890"/>
          </a:xfrm>
          <a:prstGeom prst="roundRect">
            <a:avLst/>
          </a:prstGeom>
          <a:solidFill>
            <a:schemeClr val="bg1">
              <a:lumMod val="85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a:t>Enable proactive management of SKUs nearing risk thresholds.</a:t>
            </a:r>
            <a:endParaRPr lang="en-US" sz="1400" dirty="0"/>
          </a:p>
        </p:txBody>
      </p:sp>
      <p:sp>
        <p:nvSpPr>
          <p:cNvPr id="40" name="Rectangle: Rounded Corners 39">
            <a:extLst>
              <a:ext uri="{FF2B5EF4-FFF2-40B4-BE49-F238E27FC236}">
                <a16:creationId xmlns:a16="http://schemas.microsoft.com/office/drawing/2014/main" id="{0994F1C2-0B78-4772-970C-BBDE93BED7D0}"/>
              </a:ext>
            </a:extLst>
          </p:cNvPr>
          <p:cNvSpPr/>
          <p:nvPr/>
        </p:nvSpPr>
        <p:spPr>
          <a:xfrm>
            <a:off x="1032336" y="3050745"/>
            <a:ext cx="1944000" cy="1296890"/>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400" dirty="0"/>
              <a:t>Integrate advanced forecasting methods, focusing on seasonality and trends.</a:t>
            </a:r>
          </a:p>
        </p:txBody>
      </p:sp>
      <p:sp>
        <p:nvSpPr>
          <p:cNvPr id="41" name="Rectangle: Rounded Corners 40">
            <a:extLst>
              <a:ext uri="{FF2B5EF4-FFF2-40B4-BE49-F238E27FC236}">
                <a16:creationId xmlns:a16="http://schemas.microsoft.com/office/drawing/2014/main" id="{24216325-A72A-E941-7633-F60608C79FCD}"/>
              </a:ext>
            </a:extLst>
          </p:cNvPr>
          <p:cNvSpPr/>
          <p:nvPr/>
        </p:nvSpPr>
        <p:spPr>
          <a:xfrm>
            <a:off x="10030544" y="3027855"/>
            <a:ext cx="1944000" cy="1296890"/>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400" dirty="0"/>
              <a:t>Develop real-time dashboards and alerts for tracking forecast accuracy, lead time variability, and lifecycle status.</a:t>
            </a:r>
            <a:endParaRPr lang="en-IN" sz="1400" dirty="0"/>
          </a:p>
        </p:txBody>
      </p:sp>
      <p:sp>
        <p:nvSpPr>
          <p:cNvPr id="42" name="Rectangle: Rounded Corners 41">
            <a:extLst>
              <a:ext uri="{FF2B5EF4-FFF2-40B4-BE49-F238E27FC236}">
                <a16:creationId xmlns:a16="http://schemas.microsoft.com/office/drawing/2014/main" id="{0C2C70F6-EA9B-D38F-4586-E025008973AE}"/>
              </a:ext>
            </a:extLst>
          </p:cNvPr>
          <p:cNvSpPr/>
          <p:nvPr/>
        </p:nvSpPr>
        <p:spPr>
          <a:xfrm>
            <a:off x="7788909" y="3027855"/>
            <a:ext cx="1944000" cy="1296890"/>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400" dirty="0"/>
              <a:t>Adjust inventory levels for seasonal products based on historical demand peaks and troughs.</a:t>
            </a:r>
            <a:endParaRPr lang="en-IN" sz="1400" dirty="0"/>
          </a:p>
        </p:txBody>
      </p:sp>
      <p:sp>
        <p:nvSpPr>
          <p:cNvPr id="43" name="Rectangle: Rounded Corners 42">
            <a:extLst>
              <a:ext uri="{FF2B5EF4-FFF2-40B4-BE49-F238E27FC236}">
                <a16:creationId xmlns:a16="http://schemas.microsoft.com/office/drawing/2014/main" id="{5193C86D-53A4-2E9C-445B-F1076B96DE46}"/>
              </a:ext>
            </a:extLst>
          </p:cNvPr>
          <p:cNvSpPr/>
          <p:nvPr/>
        </p:nvSpPr>
        <p:spPr>
          <a:xfrm>
            <a:off x="5596070" y="3027855"/>
            <a:ext cx="1944000" cy="1296890"/>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400" dirty="0"/>
              <a:t>Prioritize SKUs in Decline phase for inventory reduction strategies, like phased production, targeted discounting.</a:t>
            </a:r>
            <a:endParaRPr lang="en-IN" sz="1400" dirty="0"/>
          </a:p>
        </p:txBody>
      </p:sp>
      <p:sp>
        <p:nvSpPr>
          <p:cNvPr id="44" name="Rectangle: Rounded Corners 43">
            <a:extLst>
              <a:ext uri="{FF2B5EF4-FFF2-40B4-BE49-F238E27FC236}">
                <a16:creationId xmlns:a16="http://schemas.microsoft.com/office/drawing/2014/main" id="{06692382-7633-85D3-A81D-3EB70B733390}"/>
              </a:ext>
            </a:extLst>
          </p:cNvPr>
          <p:cNvSpPr/>
          <p:nvPr/>
        </p:nvSpPr>
        <p:spPr>
          <a:xfrm>
            <a:off x="3260993" y="3070605"/>
            <a:ext cx="1944000" cy="1296890"/>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400" dirty="0"/>
              <a:t>Integrate advanced forecasting methods, focusing on seasonality and trends.</a:t>
            </a:r>
          </a:p>
        </p:txBody>
      </p:sp>
    </p:spTree>
    <p:extLst>
      <p:ext uri="{BB962C8B-B14F-4D97-AF65-F5344CB8AC3E}">
        <p14:creationId xmlns:p14="http://schemas.microsoft.com/office/powerpoint/2010/main" val="13796010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CFBF5BA-FFA3-94CD-9FF0-7BA23A3D3E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6" name="think-cell data - do not delete" hidden="1">
                        <a:extLst>
                          <a:ext uri="{FF2B5EF4-FFF2-40B4-BE49-F238E27FC236}">
                            <a16:creationId xmlns:a16="http://schemas.microsoft.com/office/drawing/2014/main" id="{ACFBF5BA-FFA3-94CD-9FF0-7BA23A3D3E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C7BA42A1-EAC2-A2F8-E777-C340B2A8ECB6}"/>
              </a:ext>
            </a:extLst>
          </p:cNvPr>
          <p:cNvSpPr txBox="1"/>
          <p:nvPr/>
        </p:nvSpPr>
        <p:spPr>
          <a:xfrm>
            <a:off x="-1" y="93018"/>
            <a:ext cx="12368463" cy="523220"/>
          </a:xfrm>
          <a:prstGeom prst="rect">
            <a:avLst/>
          </a:prstGeom>
          <a:noFill/>
        </p:spPr>
        <p:txBody>
          <a:bodyPr wrap="square" rtlCol="0">
            <a:spAutoFit/>
          </a:bodyPr>
          <a:lstStyle/>
          <a:p>
            <a:r>
              <a:rPr lang="en-US" sz="2800" b="1" dirty="0"/>
              <a:t>5.4 Expected Benefits</a:t>
            </a:r>
          </a:p>
        </p:txBody>
      </p:sp>
      <p:cxnSp>
        <p:nvCxnSpPr>
          <p:cNvPr id="5" name="Straight Connector 4">
            <a:extLst>
              <a:ext uri="{FF2B5EF4-FFF2-40B4-BE49-F238E27FC236}">
                <a16:creationId xmlns:a16="http://schemas.microsoft.com/office/drawing/2014/main" id="{02CE551A-CC0F-2F53-62E3-8EB142ABD547}"/>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9B20C3BC-5FE8-ACC4-250E-C091666C91BF}"/>
              </a:ext>
            </a:extLst>
          </p:cNvPr>
          <p:cNvSpPr txBox="1"/>
          <p:nvPr/>
        </p:nvSpPr>
        <p:spPr>
          <a:xfrm>
            <a:off x="134874" y="809119"/>
            <a:ext cx="11798046" cy="3341749"/>
          </a:xfrm>
          <a:prstGeom prst="rect">
            <a:avLst/>
          </a:prstGeom>
          <a:noFill/>
        </p:spPr>
        <p:txBody>
          <a:bodyPr wrap="square">
            <a:spAutoFit/>
          </a:bodyPr>
          <a:lstStyle/>
          <a:p>
            <a:pPr marL="285750" indent="-285750">
              <a:lnSpc>
                <a:spcPct val="200000"/>
              </a:lnSpc>
              <a:buFont typeface="Arial" panose="020B0604020202020204" pitchFamily="34" charset="0"/>
              <a:buChar char="•"/>
            </a:pPr>
            <a:r>
              <a:rPr lang="en-US" b="1" dirty="0"/>
              <a:t>Financial Impact: </a:t>
            </a:r>
            <a:r>
              <a:rPr lang="en-US" dirty="0"/>
              <a:t>Reduced inventory carrying costs and minimized obsolescence, improving profitability.</a:t>
            </a:r>
          </a:p>
          <a:p>
            <a:pPr marL="285750" indent="-285750">
              <a:lnSpc>
                <a:spcPct val="200000"/>
              </a:lnSpc>
              <a:buFont typeface="Arial" panose="020B0604020202020204" pitchFamily="34" charset="0"/>
              <a:buChar char="•"/>
            </a:pPr>
            <a:r>
              <a:rPr lang="en-US" b="1" dirty="0"/>
              <a:t>Operational Efficiency: </a:t>
            </a:r>
            <a:r>
              <a:rPr lang="en-US" dirty="0"/>
              <a:t>Enhanced alignment of inventory with real demand, reducing waste and excess stock.</a:t>
            </a:r>
          </a:p>
          <a:p>
            <a:pPr marL="285750" indent="-285750">
              <a:lnSpc>
                <a:spcPct val="200000"/>
              </a:lnSpc>
              <a:buFont typeface="Arial" panose="020B0604020202020204" pitchFamily="34" charset="0"/>
              <a:buChar char="•"/>
            </a:pPr>
            <a:r>
              <a:rPr lang="en-US" b="1" dirty="0"/>
              <a:t>Risk Management: </a:t>
            </a:r>
            <a:r>
              <a:rPr lang="en-US" dirty="0"/>
              <a:t>Improved visibility into SKU risks, allowing for more proactive, strategic decision-making.</a:t>
            </a:r>
          </a:p>
          <a:p>
            <a:pPr marL="285750" indent="-285750">
              <a:lnSpc>
                <a:spcPct val="200000"/>
              </a:lnSpc>
              <a:buFont typeface="Arial" panose="020B0604020202020204" pitchFamily="34" charset="0"/>
              <a:buChar char="•"/>
            </a:pPr>
            <a:r>
              <a:rPr lang="en-US" b="1" dirty="0"/>
              <a:t>Adaptability: </a:t>
            </a:r>
            <a:r>
              <a:rPr lang="en-US" dirty="0"/>
              <a:t>Faster response times to demand and lifecycle changes, enabling a more resilient supply chain.</a:t>
            </a:r>
          </a:p>
          <a:p>
            <a:pPr marL="285750" indent="-285750">
              <a:lnSpc>
                <a:spcPct val="200000"/>
              </a:lnSpc>
              <a:buFont typeface="Arial" panose="020B0604020202020204" pitchFamily="34" charset="0"/>
              <a:buChar char="•"/>
            </a:pPr>
            <a:r>
              <a:rPr lang="en-US" b="1" dirty="0"/>
              <a:t>Data-Driven Insights: </a:t>
            </a:r>
            <a:r>
              <a:rPr lang="en-US" dirty="0"/>
              <a:t>Real-time dashboards empower the team with actionable insights, improving inventory control.</a:t>
            </a:r>
            <a:endParaRPr lang="en-IN" dirty="0"/>
          </a:p>
        </p:txBody>
      </p:sp>
      <p:pic>
        <p:nvPicPr>
          <p:cNvPr id="2050" name="Picture 2" descr="Target investor icon">
            <a:extLst>
              <a:ext uri="{FF2B5EF4-FFF2-40B4-BE49-F238E27FC236}">
                <a16:creationId xmlns:a16="http://schemas.microsoft.com/office/drawing/2014/main" id="{47B14D6E-14D0-2199-514A-1EB3A27D53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67760" y="4614680"/>
            <a:ext cx="10800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Performance icon">
            <a:extLst>
              <a:ext uri="{FF2B5EF4-FFF2-40B4-BE49-F238E27FC236}">
                <a16:creationId xmlns:a16="http://schemas.microsoft.com/office/drawing/2014/main" id="{7D887880-AAA6-BA68-1D20-8583FE9D718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72944" y="4614680"/>
            <a:ext cx="10800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Acceptable risk icon">
            <a:extLst>
              <a:ext uri="{FF2B5EF4-FFF2-40B4-BE49-F238E27FC236}">
                <a16:creationId xmlns:a16="http://schemas.microsoft.com/office/drawing/2014/main" id="{0327E64A-B884-3CB5-0C00-A40BAFF9255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79720" y="4614680"/>
            <a:ext cx="10800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Adapt icon">
            <a:extLst>
              <a:ext uri="{FF2B5EF4-FFF2-40B4-BE49-F238E27FC236}">
                <a16:creationId xmlns:a16="http://schemas.microsoft.com/office/drawing/2014/main" id="{2AA51F04-2A08-B220-202E-9135DD5E2C5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86496" y="4614680"/>
            <a:ext cx="10800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Monitoring icon">
            <a:extLst>
              <a:ext uri="{FF2B5EF4-FFF2-40B4-BE49-F238E27FC236}">
                <a16:creationId xmlns:a16="http://schemas.microsoft.com/office/drawing/2014/main" id="{FCE12119-5B37-840E-CDA8-5D5AB041B73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193272" y="4614680"/>
            <a:ext cx="1080000" cy="10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68525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251FD2-1981-0D36-6236-B957766402CC}"/>
              </a:ext>
            </a:extLst>
          </p:cNvPr>
          <p:cNvGraphicFramePr>
            <a:graphicFrameLocks noChangeAspect="1"/>
          </p:cNvGraphicFramePr>
          <p:nvPr>
            <p:custDataLst>
              <p:tags r:id="rId1"/>
            </p:custDataLst>
            <p:extLst>
              <p:ext uri="{D42A27DB-BD31-4B8C-83A1-F6EECF244321}">
                <p14:modId xmlns:p14="http://schemas.microsoft.com/office/powerpoint/2010/main" val="1945946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35251FD2-1981-0D36-6236-B957766402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109E1488-E1D8-F755-234C-6BE16D8C153D}"/>
              </a:ext>
            </a:extLst>
          </p:cNvPr>
          <p:cNvSpPr txBox="1"/>
          <p:nvPr/>
        </p:nvSpPr>
        <p:spPr>
          <a:xfrm>
            <a:off x="2095500" y="2875002"/>
            <a:ext cx="8001000" cy="553998"/>
          </a:xfrm>
          <a:prstGeom prst="rect">
            <a:avLst/>
          </a:prstGeom>
          <a:noFill/>
        </p:spPr>
        <p:txBody>
          <a:bodyPr wrap="square">
            <a:spAutoFit/>
          </a:bodyPr>
          <a:lstStyle/>
          <a:p>
            <a:pPr algn="ctr"/>
            <a:r>
              <a:rPr lang="en-US" sz="3000" b="1" dirty="0"/>
              <a:t>Deliverable Dashboard (Power BI)</a:t>
            </a:r>
            <a:endParaRPr lang="en-IN" sz="3000" b="1" dirty="0"/>
          </a:p>
        </p:txBody>
      </p:sp>
    </p:spTree>
    <p:extLst>
      <p:ext uri="{BB962C8B-B14F-4D97-AF65-F5344CB8AC3E}">
        <p14:creationId xmlns:p14="http://schemas.microsoft.com/office/powerpoint/2010/main" val="12392455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43B542E-0990-FA73-1A76-001F247EB93B}"/>
              </a:ext>
            </a:extLst>
          </p:cNvPr>
          <p:cNvPicPr>
            <a:picLocks noChangeAspect="1"/>
          </p:cNvPicPr>
          <p:nvPr/>
        </p:nvPicPr>
        <p:blipFill>
          <a:blip r:embed="rId5"/>
          <a:stretch>
            <a:fillRect/>
          </a:stretch>
        </p:blipFill>
        <p:spPr>
          <a:xfrm>
            <a:off x="8675" y="13811"/>
            <a:ext cx="12174649" cy="6830378"/>
          </a:xfrm>
          <a:prstGeom prst="rect">
            <a:avLst/>
          </a:prstGeom>
        </p:spPr>
      </p:pic>
    </p:spTree>
    <p:extLst>
      <p:ext uri="{BB962C8B-B14F-4D97-AF65-F5344CB8AC3E}">
        <p14:creationId xmlns:p14="http://schemas.microsoft.com/office/powerpoint/2010/main" val="13426837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8FCE320-4775-48C1-B9F7-6C76A24FBC86}"/>
              </a:ext>
            </a:extLst>
          </p:cNvPr>
          <p:cNvGraphicFramePr>
            <a:graphicFrameLocks noChangeAspect="1"/>
          </p:cNvGraphicFramePr>
          <p:nvPr>
            <p:custDataLst>
              <p:tags r:id="rId1"/>
            </p:custDataLst>
            <p:extLst>
              <p:ext uri="{D42A27DB-BD31-4B8C-83A1-F6EECF244321}">
                <p14:modId xmlns:p14="http://schemas.microsoft.com/office/powerpoint/2010/main" val="3668406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C8FCE320-4775-48C1-B9F7-6C76A24FBC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C68137DD-189A-9CED-4729-594B388EA6AA}"/>
              </a:ext>
            </a:extLst>
          </p:cNvPr>
          <p:cNvSpPr txBox="1"/>
          <p:nvPr/>
        </p:nvSpPr>
        <p:spPr>
          <a:xfrm>
            <a:off x="2411186" y="2875002"/>
            <a:ext cx="8001000" cy="553998"/>
          </a:xfrm>
          <a:prstGeom prst="rect">
            <a:avLst/>
          </a:prstGeom>
          <a:noFill/>
        </p:spPr>
        <p:txBody>
          <a:bodyPr wrap="square">
            <a:spAutoFit/>
          </a:bodyPr>
          <a:lstStyle/>
          <a:p>
            <a:r>
              <a:rPr lang="en-US" sz="3000" b="1" dirty="0"/>
              <a:t>Problem Definition &amp; Hypothesis Framing</a:t>
            </a:r>
            <a:endParaRPr lang="en-IN" sz="3000" b="1" dirty="0"/>
          </a:p>
        </p:txBody>
      </p:sp>
      <p:pic>
        <p:nvPicPr>
          <p:cNvPr id="10242" name="Picture 2" descr="Ask a lawyer icon">
            <a:extLst>
              <a:ext uri="{FF2B5EF4-FFF2-40B4-BE49-F238E27FC236}">
                <a16:creationId xmlns:a16="http://schemas.microsoft.com/office/drawing/2014/main" id="{56593146-DB71-7260-7DCA-C75747FE9AF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48456" y="3977001"/>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School icon">
            <a:extLst>
              <a:ext uri="{FF2B5EF4-FFF2-40B4-BE49-F238E27FC236}">
                <a16:creationId xmlns:a16="http://schemas.microsoft.com/office/drawing/2014/main" id="{48B55CB6-9FA9-946C-6AA2-307044B6779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2485" y="887001"/>
            <a:ext cx="1440000" cy="14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3116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3C415FB-4243-9DFD-343B-98670DC4E101}"/>
              </a:ext>
            </a:extLst>
          </p:cNvPr>
          <p:cNvGraphicFramePr>
            <a:graphicFrameLocks noChangeAspect="1"/>
          </p:cNvGraphicFramePr>
          <p:nvPr>
            <p:custDataLst>
              <p:tags r:id="rId1"/>
            </p:custDataLst>
            <p:extLst>
              <p:ext uri="{D42A27DB-BD31-4B8C-83A1-F6EECF244321}">
                <p14:modId xmlns:p14="http://schemas.microsoft.com/office/powerpoint/2010/main" val="3508643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03C415FB-4243-9DFD-343B-98670DC4E1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99FB601-3801-1FC7-54EA-5C24F029B62A}"/>
              </a:ext>
            </a:extLst>
          </p:cNvPr>
          <p:cNvPicPr>
            <a:picLocks noChangeAspect="1"/>
          </p:cNvPicPr>
          <p:nvPr/>
        </p:nvPicPr>
        <p:blipFill>
          <a:blip r:embed="rId5"/>
          <a:stretch>
            <a:fillRect/>
          </a:stretch>
        </p:blipFill>
        <p:spPr>
          <a:xfrm>
            <a:off x="8675" y="9047"/>
            <a:ext cx="12174649" cy="6839905"/>
          </a:xfrm>
          <a:prstGeom prst="rect">
            <a:avLst/>
          </a:prstGeom>
        </p:spPr>
      </p:pic>
    </p:spTree>
    <p:extLst>
      <p:ext uri="{BB962C8B-B14F-4D97-AF65-F5344CB8AC3E}">
        <p14:creationId xmlns:p14="http://schemas.microsoft.com/office/powerpoint/2010/main" val="23924566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763D2B-F7C0-02D6-77DF-06C7799502A7}"/>
              </a:ext>
            </a:extLst>
          </p:cNvPr>
          <p:cNvGraphicFramePr>
            <a:graphicFrameLocks noChangeAspect="1"/>
          </p:cNvGraphicFramePr>
          <p:nvPr>
            <p:custDataLst>
              <p:tags r:id="rId1"/>
            </p:custDataLst>
            <p:extLst>
              <p:ext uri="{D42A27DB-BD31-4B8C-83A1-F6EECF244321}">
                <p14:modId xmlns:p14="http://schemas.microsoft.com/office/powerpoint/2010/main" val="1053976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F4763D2B-F7C0-02D6-77DF-06C7799502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63D836CF-CE18-A3F5-1F55-BCEE1A5A8694}"/>
              </a:ext>
            </a:extLst>
          </p:cNvPr>
          <p:cNvPicPr>
            <a:picLocks noChangeAspect="1"/>
          </p:cNvPicPr>
          <p:nvPr/>
        </p:nvPicPr>
        <p:blipFill>
          <a:blip r:embed="rId5"/>
          <a:stretch>
            <a:fillRect/>
          </a:stretch>
        </p:blipFill>
        <p:spPr>
          <a:xfrm>
            <a:off x="8675" y="13811"/>
            <a:ext cx="12174649" cy="6830378"/>
          </a:xfrm>
          <a:prstGeom prst="rect">
            <a:avLst/>
          </a:prstGeom>
        </p:spPr>
      </p:pic>
    </p:spTree>
    <p:extLst>
      <p:ext uri="{BB962C8B-B14F-4D97-AF65-F5344CB8AC3E}">
        <p14:creationId xmlns:p14="http://schemas.microsoft.com/office/powerpoint/2010/main" val="12472513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FBC892B-A993-E7A4-15BB-1EBED4DFA74D}"/>
              </a:ext>
            </a:extLst>
          </p:cNvPr>
          <p:cNvGraphicFramePr>
            <a:graphicFrameLocks noChangeAspect="1"/>
          </p:cNvGraphicFramePr>
          <p:nvPr>
            <p:custDataLst>
              <p:tags r:id="rId1"/>
            </p:custDataLst>
            <p:extLst>
              <p:ext uri="{D42A27DB-BD31-4B8C-83A1-F6EECF244321}">
                <p14:modId xmlns:p14="http://schemas.microsoft.com/office/powerpoint/2010/main" val="4163380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DFBC892B-A993-E7A4-15BB-1EBED4DFA7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098" name="Picture 2" descr="Thank you icon">
            <a:extLst>
              <a:ext uri="{FF2B5EF4-FFF2-40B4-BE49-F238E27FC236}">
                <a16:creationId xmlns:a16="http://schemas.microsoft.com/office/drawing/2014/main" id="{80AD3123-33F8-C33E-8349-AF8BD3C9BE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58056" y="1673352"/>
            <a:ext cx="3304032" cy="3304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08861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D4C56C-307F-6795-EEF6-DD3D45A763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5" progId="TCLayout.ActiveDocument.1">
                  <p:embed/>
                </p:oleObj>
              </mc:Choice>
              <mc:Fallback>
                <p:oleObj name="think-cell Slide" r:id="rId4" imgW="421" imgH="425" progId="TCLayout.ActiveDocument.1">
                  <p:embed/>
                  <p:pic>
                    <p:nvPicPr>
                      <p:cNvPr id="4" name="think-cell data - do not delete" hidden="1">
                        <a:extLst>
                          <a:ext uri="{FF2B5EF4-FFF2-40B4-BE49-F238E27FC236}">
                            <a16:creationId xmlns:a16="http://schemas.microsoft.com/office/drawing/2014/main" id="{FDD4C56C-307F-6795-EEF6-DD3D45A763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709AA75A-D701-385D-2AC5-9BA80FDF88E8}"/>
              </a:ext>
            </a:extLst>
          </p:cNvPr>
          <p:cNvSpPr txBox="1"/>
          <p:nvPr/>
        </p:nvSpPr>
        <p:spPr>
          <a:xfrm>
            <a:off x="292100" y="952500"/>
            <a:ext cx="11421364" cy="4207370"/>
          </a:xfrm>
          <a:prstGeom prst="rect">
            <a:avLst/>
          </a:prstGeom>
          <a:noFill/>
        </p:spPr>
        <p:txBody>
          <a:bodyPr wrap="square" rtlCol="0">
            <a:spAutoFit/>
          </a:bodyPr>
          <a:lstStyle/>
          <a:p>
            <a:pPr>
              <a:lnSpc>
                <a:spcPct val="150000"/>
              </a:lnSpc>
            </a:pPr>
            <a:r>
              <a:rPr lang="en-US" b="1" dirty="0"/>
              <a:t>Problem Statement:</a:t>
            </a:r>
          </a:p>
          <a:p>
            <a:pPr>
              <a:lnSpc>
                <a:spcPct val="150000"/>
              </a:lnSpc>
            </a:pPr>
            <a:r>
              <a:rPr lang="en-US" dirty="0"/>
              <a:t>Main Issue: Significant Excess and Obsolete (E&amp;O) Inventory impacting financial performance and operational efficiency.</a:t>
            </a:r>
          </a:p>
          <a:p>
            <a:pPr>
              <a:lnSpc>
                <a:spcPct val="150000"/>
              </a:lnSpc>
            </a:pPr>
            <a:r>
              <a:rPr lang="en-US" dirty="0"/>
              <a:t>This E&amp;O inventory is currently tracked through a manual diagnostic process, which is time-consuming and reactive.</a:t>
            </a:r>
          </a:p>
          <a:p>
            <a:pPr>
              <a:lnSpc>
                <a:spcPct val="150000"/>
              </a:lnSpc>
            </a:pPr>
            <a:endParaRPr lang="en-US" dirty="0"/>
          </a:p>
          <a:p>
            <a:pPr>
              <a:lnSpc>
                <a:spcPct val="150000"/>
              </a:lnSpc>
            </a:pPr>
            <a:r>
              <a:rPr lang="en-US" b="1" dirty="0"/>
              <a:t>Objectives:</a:t>
            </a:r>
          </a:p>
          <a:p>
            <a:pPr marL="342900" indent="-342900">
              <a:lnSpc>
                <a:spcPct val="150000"/>
              </a:lnSpc>
              <a:buFont typeface="Arial" panose="020B0604020202020204" pitchFamily="34" charset="0"/>
              <a:buChar char="•"/>
            </a:pPr>
            <a:r>
              <a:rPr lang="en-US" b="1" dirty="0"/>
              <a:t>Identify Root Causes:</a:t>
            </a:r>
            <a:r>
              <a:rPr lang="en-US" dirty="0"/>
              <a:t> Pinpoint factors driving E&amp;O</a:t>
            </a:r>
          </a:p>
          <a:p>
            <a:pPr marL="342900" indent="-342900">
              <a:lnSpc>
                <a:spcPct val="150000"/>
              </a:lnSpc>
              <a:buFont typeface="Arial" panose="020B0604020202020204" pitchFamily="34" charset="0"/>
              <a:buChar char="•"/>
            </a:pPr>
            <a:r>
              <a:rPr lang="en-US" b="1" dirty="0"/>
              <a:t>Develop Predictive Models:</a:t>
            </a:r>
            <a:r>
              <a:rPr lang="en-US" dirty="0"/>
              <a:t> Proactively manage inventory to prevent excess and obsolescence. </a:t>
            </a:r>
          </a:p>
          <a:p>
            <a:pPr marL="342900" indent="-342900">
              <a:lnSpc>
                <a:spcPct val="150000"/>
              </a:lnSpc>
              <a:buFont typeface="Arial" panose="020B0604020202020204" pitchFamily="34" charset="0"/>
              <a:buChar char="•"/>
            </a:pPr>
            <a:r>
              <a:rPr lang="en-US" b="1" dirty="0"/>
              <a:t>Design Decision Engine and Dashboards: </a:t>
            </a:r>
            <a:r>
              <a:rPr lang="en-US" dirty="0"/>
              <a:t>Enable real-time, data-driven inventory management.</a:t>
            </a:r>
          </a:p>
        </p:txBody>
      </p:sp>
      <p:sp>
        <p:nvSpPr>
          <p:cNvPr id="6" name="TextBox 5">
            <a:extLst>
              <a:ext uri="{FF2B5EF4-FFF2-40B4-BE49-F238E27FC236}">
                <a16:creationId xmlns:a16="http://schemas.microsoft.com/office/drawing/2014/main" id="{7F018BA2-E215-67CA-3DD0-322C066FF35F}"/>
              </a:ext>
            </a:extLst>
          </p:cNvPr>
          <p:cNvSpPr txBox="1"/>
          <p:nvPr/>
        </p:nvSpPr>
        <p:spPr>
          <a:xfrm>
            <a:off x="-12700" y="93018"/>
            <a:ext cx="11332972" cy="523220"/>
          </a:xfrm>
          <a:prstGeom prst="rect">
            <a:avLst/>
          </a:prstGeom>
          <a:noFill/>
        </p:spPr>
        <p:txBody>
          <a:bodyPr wrap="square" rtlCol="0">
            <a:spAutoFit/>
          </a:bodyPr>
          <a:lstStyle/>
          <a:p>
            <a:r>
              <a:rPr lang="en-IN" sz="2800" b="1" dirty="0"/>
              <a:t>1.1 Problem Definition and Objectives</a:t>
            </a:r>
          </a:p>
        </p:txBody>
      </p:sp>
      <p:cxnSp>
        <p:nvCxnSpPr>
          <p:cNvPr id="7" name="Straight Connector 6">
            <a:extLst>
              <a:ext uri="{FF2B5EF4-FFF2-40B4-BE49-F238E27FC236}">
                <a16:creationId xmlns:a16="http://schemas.microsoft.com/office/drawing/2014/main" id="{96FF09DA-DFED-8570-3D0C-4293FBE78D5A}"/>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1026" name="Picture 2" descr="School icon">
            <a:extLst>
              <a:ext uri="{FF2B5EF4-FFF2-40B4-BE49-F238E27FC236}">
                <a16:creationId xmlns:a16="http://schemas.microsoft.com/office/drawing/2014/main" id="{BF6FDD01-F45B-2EA5-2392-BAE971BAA2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40917" y="1817361"/>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redictive models icon">
            <a:extLst>
              <a:ext uri="{FF2B5EF4-FFF2-40B4-BE49-F238E27FC236}">
                <a16:creationId xmlns:a16="http://schemas.microsoft.com/office/drawing/2014/main" id="{8A1B7B87-A146-27FE-EE9D-A4FBCB50B2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82335" y="4252880"/>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Virus search icon">
            <a:extLst>
              <a:ext uri="{FF2B5EF4-FFF2-40B4-BE49-F238E27FC236}">
                <a16:creationId xmlns:a16="http://schemas.microsoft.com/office/drawing/2014/main" id="{EB3E80FF-DD76-884F-86DA-31AE173CAAB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26000" y="3827432"/>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Flexibility icon">
            <a:extLst>
              <a:ext uri="{FF2B5EF4-FFF2-40B4-BE49-F238E27FC236}">
                <a16:creationId xmlns:a16="http://schemas.microsoft.com/office/drawing/2014/main" id="{6C3FC972-92B8-9BB6-0FCC-178F2D7BBAB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182335" y="4889870"/>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Data driven icon">
            <a:extLst>
              <a:ext uri="{FF2B5EF4-FFF2-40B4-BE49-F238E27FC236}">
                <a16:creationId xmlns:a16="http://schemas.microsoft.com/office/drawing/2014/main" id="{FFA99A96-9A42-7439-FE18-8C44BB99D41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15894" y="5067802"/>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Manual icon">
            <a:extLst>
              <a:ext uri="{FF2B5EF4-FFF2-40B4-BE49-F238E27FC236}">
                <a16:creationId xmlns:a16="http://schemas.microsoft.com/office/drawing/2014/main" id="{4C0A53B6-313B-4F80-1A54-4D5944A147C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47216" y="2649460"/>
            <a:ext cx="540000" cy="5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2650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93CE4FB-0CD6-64B6-627D-3657F2A7D308}"/>
              </a:ext>
            </a:extLst>
          </p:cNvPr>
          <p:cNvGraphicFramePr>
            <a:graphicFrameLocks noChangeAspect="1"/>
          </p:cNvGraphicFramePr>
          <p:nvPr>
            <p:custDataLst>
              <p:tags r:id="rId1"/>
            </p:custDataLst>
            <p:extLst>
              <p:ext uri="{D42A27DB-BD31-4B8C-83A1-F6EECF244321}">
                <p14:modId xmlns:p14="http://schemas.microsoft.com/office/powerpoint/2010/main" val="347579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493CE4FB-0CD6-64B6-627D-3657F2A7D3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3B2FEFA8-B3A5-0C84-5FEE-DD33FB3161B4}"/>
              </a:ext>
            </a:extLst>
          </p:cNvPr>
          <p:cNvSpPr txBox="1"/>
          <p:nvPr/>
        </p:nvSpPr>
        <p:spPr>
          <a:xfrm>
            <a:off x="346964" y="704563"/>
            <a:ext cx="11585956" cy="1714380"/>
          </a:xfrm>
          <a:prstGeom prst="rect">
            <a:avLst/>
          </a:prstGeom>
          <a:noFill/>
        </p:spPr>
        <p:txBody>
          <a:bodyPr wrap="square" rtlCol="0">
            <a:spAutoFit/>
          </a:bodyPr>
          <a:lstStyle/>
          <a:p>
            <a:pPr>
              <a:lnSpc>
                <a:spcPct val="150000"/>
              </a:lnSpc>
            </a:pPr>
            <a:r>
              <a:rPr lang="en-US" b="1" dirty="0"/>
              <a:t>Key Questions:</a:t>
            </a:r>
          </a:p>
          <a:p>
            <a:pPr marL="285750" indent="-285750">
              <a:lnSpc>
                <a:spcPct val="150000"/>
              </a:lnSpc>
              <a:buFont typeface="Arial" panose="020B0604020202020204" pitchFamily="34" charset="0"/>
              <a:buChar char="•"/>
            </a:pPr>
            <a:r>
              <a:rPr lang="en-US" dirty="0"/>
              <a:t>What factors are strongly correlated with excess and obsolete inventory?</a:t>
            </a:r>
          </a:p>
          <a:p>
            <a:pPr marL="285750" indent="-285750">
              <a:lnSpc>
                <a:spcPct val="150000"/>
              </a:lnSpc>
              <a:buFont typeface="Arial" panose="020B0604020202020204" pitchFamily="34" charset="0"/>
              <a:buChar char="•"/>
            </a:pPr>
            <a:r>
              <a:rPr lang="en-US" dirty="0"/>
              <a:t>Which SKUs are most at risk of E&amp;O?</a:t>
            </a:r>
          </a:p>
          <a:p>
            <a:pPr marL="285750" indent="-285750">
              <a:lnSpc>
                <a:spcPct val="150000"/>
              </a:lnSpc>
              <a:buFont typeface="Arial" panose="020B0604020202020204" pitchFamily="34" charset="0"/>
              <a:buChar char="•"/>
            </a:pPr>
            <a:r>
              <a:rPr lang="en-US" dirty="0"/>
              <a:t>How can we proactively manage and prevent E&amp;O?</a:t>
            </a:r>
          </a:p>
        </p:txBody>
      </p:sp>
      <p:sp>
        <p:nvSpPr>
          <p:cNvPr id="6" name="TextBox 5">
            <a:extLst>
              <a:ext uri="{FF2B5EF4-FFF2-40B4-BE49-F238E27FC236}">
                <a16:creationId xmlns:a16="http://schemas.microsoft.com/office/drawing/2014/main" id="{461013D3-909A-A10C-1875-4DAEE8C64FE0}"/>
              </a:ext>
            </a:extLst>
          </p:cNvPr>
          <p:cNvSpPr txBox="1"/>
          <p:nvPr/>
        </p:nvSpPr>
        <p:spPr>
          <a:xfrm>
            <a:off x="-12700" y="93018"/>
            <a:ext cx="9284716" cy="523220"/>
          </a:xfrm>
          <a:prstGeom prst="rect">
            <a:avLst/>
          </a:prstGeom>
          <a:noFill/>
        </p:spPr>
        <p:txBody>
          <a:bodyPr wrap="square" rtlCol="0">
            <a:spAutoFit/>
          </a:bodyPr>
          <a:lstStyle/>
          <a:p>
            <a:r>
              <a:rPr lang="en-IN" sz="2800" b="1" dirty="0"/>
              <a:t>1.2 Key Questions and Hypotheses (Page 1)</a:t>
            </a:r>
          </a:p>
        </p:txBody>
      </p:sp>
      <p:cxnSp>
        <p:nvCxnSpPr>
          <p:cNvPr id="7" name="Straight Connector 6">
            <a:extLst>
              <a:ext uri="{FF2B5EF4-FFF2-40B4-BE49-F238E27FC236}">
                <a16:creationId xmlns:a16="http://schemas.microsoft.com/office/drawing/2014/main" id="{3058CAB4-9A24-84D0-BBFB-104EE6B6F177}"/>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8" name="Picture 2" descr="Cancel icon">
            <a:extLst>
              <a:ext uri="{FF2B5EF4-FFF2-40B4-BE49-F238E27FC236}">
                <a16:creationId xmlns:a16="http://schemas.microsoft.com/office/drawing/2014/main" id="{4FF88FEF-A612-529B-2E81-1288194849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38011" y="1096844"/>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Gravity icon">
            <a:extLst>
              <a:ext uri="{FF2B5EF4-FFF2-40B4-BE49-F238E27FC236}">
                <a16:creationId xmlns:a16="http://schemas.microsoft.com/office/drawing/2014/main" id="{58E7FC4D-8A6E-DD59-8C99-2E77400AE4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13102" y="1561753"/>
            <a:ext cx="468000" cy="468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Problem solving icon">
            <a:extLst>
              <a:ext uri="{FF2B5EF4-FFF2-40B4-BE49-F238E27FC236}">
                <a16:creationId xmlns:a16="http://schemas.microsoft.com/office/drawing/2014/main" id="{46819B5C-6BCF-4DE8-0CC8-8139D1CAAD4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26000" y="1923105"/>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939B210-0194-E2CE-1A78-385E6C2EB9CB}"/>
              </a:ext>
            </a:extLst>
          </p:cNvPr>
          <p:cNvSpPr txBox="1"/>
          <p:nvPr/>
        </p:nvSpPr>
        <p:spPr>
          <a:xfrm>
            <a:off x="346964" y="2742709"/>
            <a:ext cx="11585956" cy="3376374"/>
          </a:xfrm>
          <a:prstGeom prst="rect">
            <a:avLst/>
          </a:prstGeom>
          <a:noFill/>
        </p:spPr>
        <p:txBody>
          <a:bodyPr wrap="square" rtlCol="0">
            <a:spAutoFit/>
          </a:bodyPr>
          <a:lstStyle/>
          <a:p>
            <a:pPr>
              <a:lnSpc>
                <a:spcPct val="150000"/>
              </a:lnSpc>
            </a:pPr>
            <a:r>
              <a:rPr lang="en-US" b="1" dirty="0"/>
              <a:t>Hypotheses Summary:</a:t>
            </a:r>
          </a:p>
          <a:p>
            <a:pPr>
              <a:lnSpc>
                <a:spcPct val="150000"/>
              </a:lnSpc>
            </a:pPr>
            <a:r>
              <a:rPr lang="en-US" b="1" dirty="0"/>
              <a:t>Hypothesis 1: Forecast Inaccuracy is a Primary Driver of E&amp;O.</a:t>
            </a:r>
          </a:p>
          <a:p>
            <a:pPr marL="285750" indent="-285750">
              <a:lnSpc>
                <a:spcPct val="150000"/>
              </a:lnSpc>
              <a:buFont typeface="Arial" panose="020B0604020202020204" pitchFamily="34" charset="0"/>
              <a:buChar char="•"/>
            </a:pPr>
            <a:r>
              <a:rPr lang="en-US" dirty="0"/>
              <a:t>Rationale: Inaccurate forecasts lead to over-ordering and excess stock.</a:t>
            </a:r>
          </a:p>
          <a:p>
            <a:pPr marL="285750" indent="-285750">
              <a:lnSpc>
                <a:spcPct val="150000"/>
              </a:lnSpc>
              <a:buFont typeface="Arial" panose="020B0604020202020204" pitchFamily="34" charset="0"/>
              <a:buChar char="•"/>
            </a:pPr>
            <a:r>
              <a:rPr lang="en-US" dirty="0"/>
              <a:t>Expected Outcome: Higher forecast inaccuracy correlates with higher E&amp;O.</a:t>
            </a:r>
          </a:p>
          <a:p>
            <a:pPr marL="285750" indent="-285750">
              <a:lnSpc>
                <a:spcPct val="150000"/>
              </a:lnSpc>
              <a:buFont typeface="Arial" panose="020B0604020202020204" pitchFamily="34" charset="0"/>
              <a:buChar char="•"/>
            </a:pPr>
            <a:endParaRPr lang="en-US" dirty="0"/>
          </a:p>
          <a:p>
            <a:pPr>
              <a:lnSpc>
                <a:spcPct val="150000"/>
              </a:lnSpc>
            </a:pPr>
            <a:r>
              <a:rPr lang="en-US" b="1" dirty="0"/>
              <a:t>Hypothesis 2: Supplier Lead Time Variability Contributes to Excess Inventory.</a:t>
            </a:r>
          </a:p>
          <a:p>
            <a:pPr marL="285750" indent="-285750">
              <a:lnSpc>
                <a:spcPct val="150000"/>
              </a:lnSpc>
              <a:buFont typeface="Arial" panose="020B0604020202020204" pitchFamily="34" charset="0"/>
              <a:buChar char="•"/>
            </a:pPr>
            <a:r>
              <a:rPr lang="en-US" dirty="0"/>
              <a:t>Rationale: Long or inconsistent lead times increase buffer stocks, leading to excess.</a:t>
            </a:r>
          </a:p>
          <a:p>
            <a:pPr marL="285750" indent="-285750">
              <a:lnSpc>
                <a:spcPct val="150000"/>
              </a:lnSpc>
              <a:buFont typeface="Arial" panose="020B0604020202020204" pitchFamily="34" charset="0"/>
              <a:buChar char="•"/>
            </a:pPr>
            <a:r>
              <a:rPr lang="en-US" dirty="0"/>
              <a:t>Expected Outcome: SKUs with higher lead time variability are more prone to excess.</a:t>
            </a:r>
          </a:p>
        </p:txBody>
      </p:sp>
      <p:pic>
        <p:nvPicPr>
          <p:cNvPr id="16" name="Picture 5" descr="Prediction icon">
            <a:extLst>
              <a:ext uri="{FF2B5EF4-FFF2-40B4-BE49-F238E27FC236}">
                <a16:creationId xmlns:a16="http://schemas.microsoft.com/office/drawing/2014/main" id="{CF8B3F60-F65C-48D9-9595-A356AEBED21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16599" y="2934365"/>
            <a:ext cx="696688" cy="69668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7" descr="Accuracy icon">
            <a:extLst>
              <a:ext uri="{FF2B5EF4-FFF2-40B4-BE49-F238E27FC236}">
                <a16:creationId xmlns:a16="http://schemas.microsoft.com/office/drawing/2014/main" id="{0C21882A-EAFB-9DCB-1A81-73E0C3D6D2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02011" y="3631053"/>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Deadline icon">
            <a:extLst>
              <a:ext uri="{FF2B5EF4-FFF2-40B4-BE49-F238E27FC236}">
                <a16:creationId xmlns:a16="http://schemas.microsoft.com/office/drawing/2014/main" id="{8EF0E4CC-16F4-6D4D-B366-9B873253D99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542011" y="4746500"/>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7" descr="Inflation icon">
            <a:extLst>
              <a:ext uri="{FF2B5EF4-FFF2-40B4-BE49-F238E27FC236}">
                <a16:creationId xmlns:a16="http://schemas.microsoft.com/office/drawing/2014/main" id="{A99DA813-4A70-2BE7-49B1-7C522103467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82011" y="5237354"/>
            <a:ext cx="613885" cy="6138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77080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93CE4FB-0CD6-64B6-627D-3657F2A7D3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493CE4FB-0CD6-64B6-627D-3657F2A7D3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61013D3-909A-A10C-1875-4DAEE8C64FE0}"/>
              </a:ext>
            </a:extLst>
          </p:cNvPr>
          <p:cNvSpPr txBox="1"/>
          <p:nvPr/>
        </p:nvSpPr>
        <p:spPr>
          <a:xfrm>
            <a:off x="-12700" y="93018"/>
            <a:ext cx="8736076" cy="523220"/>
          </a:xfrm>
          <a:prstGeom prst="rect">
            <a:avLst/>
          </a:prstGeom>
          <a:noFill/>
        </p:spPr>
        <p:txBody>
          <a:bodyPr wrap="square" rtlCol="0">
            <a:spAutoFit/>
          </a:bodyPr>
          <a:lstStyle/>
          <a:p>
            <a:r>
              <a:rPr lang="en-IN" sz="2800" b="1" dirty="0"/>
              <a:t>1.2 Key Questions and Hypotheses (Page 2)</a:t>
            </a:r>
          </a:p>
        </p:txBody>
      </p:sp>
      <p:cxnSp>
        <p:nvCxnSpPr>
          <p:cNvPr id="7" name="Straight Connector 6">
            <a:extLst>
              <a:ext uri="{FF2B5EF4-FFF2-40B4-BE49-F238E27FC236}">
                <a16:creationId xmlns:a16="http://schemas.microsoft.com/office/drawing/2014/main" id="{3058CAB4-9A24-84D0-BBFB-104EE6B6F177}"/>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6939B210-0194-E2CE-1A78-385E6C2EB9CB}"/>
              </a:ext>
            </a:extLst>
          </p:cNvPr>
          <p:cNvSpPr txBox="1"/>
          <p:nvPr/>
        </p:nvSpPr>
        <p:spPr>
          <a:xfrm>
            <a:off x="346964" y="776749"/>
            <a:ext cx="11585956" cy="4622869"/>
          </a:xfrm>
          <a:prstGeom prst="rect">
            <a:avLst/>
          </a:prstGeom>
          <a:noFill/>
        </p:spPr>
        <p:txBody>
          <a:bodyPr wrap="square" rtlCol="0">
            <a:spAutoFit/>
          </a:bodyPr>
          <a:lstStyle/>
          <a:p>
            <a:pPr>
              <a:lnSpc>
                <a:spcPct val="150000"/>
              </a:lnSpc>
            </a:pPr>
            <a:r>
              <a:rPr lang="en-US" b="1" dirty="0"/>
              <a:t>Hypothesis 3: SKU Lifecycle Phases Influence E&amp;O Probability</a:t>
            </a:r>
          </a:p>
          <a:p>
            <a:pPr marL="285750" indent="-285750">
              <a:lnSpc>
                <a:spcPct val="150000"/>
              </a:lnSpc>
              <a:buFont typeface="Arial" panose="020B0604020202020204" pitchFamily="34" charset="0"/>
              <a:buChar char="•"/>
            </a:pPr>
            <a:r>
              <a:rPr lang="en-US" dirty="0"/>
              <a:t>Rationale: Products in the Decline phase have higher obsolescence risk.</a:t>
            </a:r>
          </a:p>
          <a:p>
            <a:pPr marL="285750" indent="-285750">
              <a:lnSpc>
                <a:spcPct val="150000"/>
              </a:lnSpc>
              <a:buFont typeface="Arial" panose="020B0604020202020204" pitchFamily="34" charset="0"/>
              <a:buChar char="•"/>
            </a:pPr>
            <a:r>
              <a:rPr lang="en-US" dirty="0"/>
              <a:t>Expected Outcome: SKUs in Decline have higher obsolete inventory rates.</a:t>
            </a:r>
          </a:p>
          <a:p>
            <a:pPr>
              <a:lnSpc>
                <a:spcPct val="150000"/>
              </a:lnSpc>
            </a:pPr>
            <a:endParaRPr lang="en-US" dirty="0"/>
          </a:p>
          <a:p>
            <a:pPr>
              <a:lnSpc>
                <a:spcPct val="150000"/>
              </a:lnSpc>
            </a:pPr>
            <a:r>
              <a:rPr lang="en-US" b="1" dirty="0"/>
              <a:t>Hypothesis 4: Demand Seasonality and Subdivision-Specific Trends Contribute to E&amp;O</a:t>
            </a:r>
          </a:p>
          <a:p>
            <a:pPr marL="285750" indent="-285750">
              <a:lnSpc>
                <a:spcPct val="150000"/>
              </a:lnSpc>
              <a:buFont typeface="Arial" panose="020B0604020202020204" pitchFamily="34" charset="0"/>
              <a:buChar char="•"/>
            </a:pPr>
            <a:r>
              <a:rPr lang="en-US" dirty="0"/>
              <a:t>Rationale: Certain subdivisions (e.g., Agrochemicals) show seasonal demand patterns.</a:t>
            </a:r>
          </a:p>
          <a:p>
            <a:pPr marL="285750" indent="-285750">
              <a:lnSpc>
                <a:spcPct val="150000"/>
              </a:lnSpc>
              <a:buFont typeface="Arial" panose="020B0604020202020204" pitchFamily="34" charset="0"/>
              <a:buChar char="•"/>
            </a:pPr>
            <a:r>
              <a:rPr lang="en-US" dirty="0"/>
              <a:t>Expected Outcome: SKUs with cyclical demand are more susceptible to E&amp;O.</a:t>
            </a:r>
          </a:p>
          <a:p>
            <a:pPr>
              <a:lnSpc>
                <a:spcPct val="150000"/>
              </a:lnSpc>
            </a:pPr>
            <a:endParaRPr lang="en-US" dirty="0"/>
          </a:p>
          <a:p>
            <a:pPr>
              <a:lnSpc>
                <a:spcPct val="150000"/>
              </a:lnSpc>
            </a:pPr>
            <a:r>
              <a:rPr lang="en-US" b="1" dirty="0"/>
              <a:t>Hypothesis 5: High Inventory Holding and Write-off Costs Indicate Poor E&amp;O Management</a:t>
            </a:r>
          </a:p>
          <a:p>
            <a:pPr marL="285750" indent="-285750">
              <a:lnSpc>
                <a:spcPct val="150000"/>
              </a:lnSpc>
              <a:buFont typeface="Arial" panose="020B0604020202020204" pitchFamily="34" charset="0"/>
              <a:buChar char="•"/>
            </a:pPr>
            <a:r>
              <a:rPr lang="en-US" dirty="0"/>
              <a:t>Rationale: High carrying and write-off costs correlate with inefficient inventory planning.</a:t>
            </a:r>
          </a:p>
          <a:p>
            <a:pPr marL="285750" indent="-285750">
              <a:lnSpc>
                <a:spcPct val="150000"/>
              </a:lnSpc>
              <a:buFont typeface="Arial" panose="020B0604020202020204" pitchFamily="34" charset="0"/>
              <a:buChar char="•"/>
            </a:pPr>
            <a:r>
              <a:rPr lang="en-US" dirty="0"/>
              <a:t>Expected Outcome: SKUs with high holding costs are more likely to become excess.</a:t>
            </a:r>
          </a:p>
        </p:txBody>
      </p:sp>
      <p:pic>
        <p:nvPicPr>
          <p:cNvPr id="3" name="Picture 8" descr="Hourglass icon">
            <a:extLst>
              <a:ext uri="{FF2B5EF4-FFF2-40B4-BE49-F238E27FC236}">
                <a16:creationId xmlns:a16="http://schemas.microsoft.com/office/drawing/2014/main" id="{DF3790A4-ECC2-5061-7FA0-24CBB26AD7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05679" y="776749"/>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Shelf life icon">
            <a:extLst>
              <a:ext uri="{FF2B5EF4-FFF2-40B4-BE49-F238E27FC236}">
                <a16:creationId xmlns:a16="http://schemas.microsoft.com/office/drawing/2014/main" id="{DEB6A894-1191-28CE-83EF-81469B0E990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75390" y="1105710"/>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Halloween icon">
            <a:extLst>
              <a:ext uri="{FF2B5EF4-FFF2-40B4-BE49-F238E27FC236}">
                <a16:creationId xmlns:a16="http://schemas.microsoft.com/office/drawing/2014/main" id="{FA5296CA-E3CE-81F7-AED7-07577A14C8D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90524" y="1704671"/>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Weather icon">
            <a:extLst>
              <a:ext uri="{FF2B5EF4-FFF2-40B4-BE49-F238E27FC236}">
                <a16:creationId xmlns:a16="http://schemas.microsoft.com/office/drawing/2014/main" id="{B6BCED1D-5360-F617-E79B-FABC4C41C3D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70138" y="2925335"/>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Use case icon">
            <a:extLst>
              <a:ext uri="{FF2B5EF4-FFF2-40B4-BE49-F238E27FC236}">
                <a16:creationId xmlns:a16="http://schemas.microsoft.com/office/drawing/2014/main" id="{7EDB7A83-EF63-90E2-F603-F0561FC2070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409432" y="3282144"/>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Predictive chart icon">
            <a:extLst>
              <a:ext uri="{FF2B5EF4-FFF2-40B4-BE49-F238E27FC236}">
                <a16:creationId xmlns:a16="http://schemas.microsoft.com/office/drawing/2014/main" id="{C27B9349-508B-37EB-0CEE-2FF8EC8616B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632552" y="2244671"/>
            <a:ext cx="555172" cy="55517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Revenue icon">
            <a:extLst>
              <a:ext uri="{FF2B5EF4-FFF2-40B4-BE49-F238E27FC236}">
                <a16:creationId xmlns:a16="http://schemas.microsoft.com/office/drawing/2014/main" id="{84E20FC5-2A5D-0B10-20F5-AE2C57CAE61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023281" y="3907765"/>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Businessman icon">
            <a:extLst>
              <a:ext uri="{FF2B5EF4-FFF2-40B4-BE49-F238E27FC236}">
                <a16:creationId xmlns:a16="http://schemas.microsoft.com/office/drawing/2014/main" id="{2A2C4528-E289-2E4B-E4C8-5196F29E60E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931038" y="4948429"/>
            <a:ext cx="451189" cy="45118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Warehouse icon">
            <a:extLst>
              <a:ext uri="{FF2B5EF4-FFF2-40B4-BE49-F238E27FC236}">
                <a16:creationId xmlns:a16="http://schemas.microsoft.com/office/drawing/2014/main" id="{F8FA1E8F-62DE-B664-98CB-C33A52A2911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40286" y="2889000"/>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0" descr="Stock icon">
            <a:extLst>
              <a:ext uri="{FF2B5EF4-FFF2-40B4-BE49-F238E27FC236}">
                <a16:creationId xmlns:a16="http://schemas.microsoft.com/office/drawing/2014/main" id="{52AEC9C0-B815-A740-D6BC-D6F2ADE041A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370138" y="4402618"/>
            <a:ext cx="653143" cy="6531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64247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FEE7AA-2539-8D81-A4E9-61334F31251C}"/>
              </a:ext>
            </a:extLst>
          </p:cNvPr>
          <p:cNvGraphicFramePr>
            <a:graphicFrameLocks noChangeAspect="1"/>
          </p:cNvGraphicFramePr>
          <p:nvPr>
            <p:custDataLst>
              <p:tags r:id="rId1"/>
            </p:custDataLst>
            <p:extLst>
              <p:ext uri="{D42A27DB-BD31-4B8C-83A1-F6EECF244321}">
                <p14:modId xmlns:p14="http://schemas.microsoft.com/office/powerpoint/2010/main" val="1903140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5" progId="TCLayout.ActiveDocument.1">
                  <p:embed/>
                </p:oleObj>
              </mc:Choice>
              <mc:Fallback>
                <p:oleObj name="think-cell Slide" r:id="rId3" imgW="421" imgH="425" progId="TCLayout.ActiveDocument.1">
                  <p:embed/>
                  <p:pic>
                    <p:nvPicPr>
                      <p:cNvPr id="4" name="think-cell data - do not delete" hidden="1">
                        <a:extLst>
                          <a:ext uri="{FF2B5EF4-FFF2-40B4-BE49-F238E27FC236}">
                            <a16:creationId xmlns:a16="http://schemas.microsoft.com/office/drawing/2014/main" id="{D9FEE7AA-2539-8D81-A4E9-61334F3125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FC097581-BD1D-5001-ACE7-E0A9CF2A1AAA}"/>
              </a:ext>
            </a:extLst>
          </p:cNvPr>
          <p:cNvSpPr txBox="1"/>
          <p:nvPr/>
        </p:nvSpPr>
        <p:spPr>
          <a:xfrm>
            <a:off x="-12700" y="93018"/>
            <a:ext cx="6692900" cy="523220"/>
          </a:xfrm>
          <a:prstGeom prst="rect">
            <a:avLst/>
          </a:prstGeom>
          <a:noFill/>
        </p:spPr>
        <p:txBody>
          <a:bodyPr wrap="square" rtlCol="0">
            <a:spAutoFit/>
          </a:bodyPr>
          <a:lstStyle/>
          <a:p>
            <a:r>
              <a:rPr lang="en-IN" sz="2800" b="1" dirty="0"/>
              <a:t>1.3 Hypothesis Testing Framework</a:t>
            </a:r>
          </a:p>
        </p:txBody>
      </p:sp>
      <p:cxnSp>
        <p:nvCxnSpPr>
          <p:cNvPr id="6" name="Straight Connector 5">
            <a:extLst>
              <a:ext uri="{FF2B5EF4-FFF2-40B4-BE49-F238E27FC236}">
                <a16:creationId xmlns:a16="http://schemas.microsoft.com/office/drawing/2014/main" id="{9B628995-D71E-80B6-B323-A2E6140BBFD7}"/>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2ED4019F-BFD7-779D-1537-DB21DEE7D49A}"/>
              </a:ext>
            </a:extLst>
          </p:cNvPr>
          <p:cNvSpPr txBox="1"/>
          <p:nvPr/>
        </p:nvSpPr>
        <p:spPr>
          <a:xfrm>
            <a:off x="132588" y="704563"/>
            <a:ext cx="11772900" cy="4207370"/>
          </a:xfrm>
          <a:prstGeom prst="rect">
            <a:avLst/>
          </a:prstGeom>
          <a:noFill/>
        </p:spPr>
        <p:txBody>
          <a:bodyPr wrap="square">
            <a:spAutoFit/>
          </a:bodyPr>
          <a:lstStyle/>
          <a:p>
            <a:pPr>
              <a:lnSpc>
                <a:spcPct val="150000"/>
              </a:lnSpc>
            </a:pPr>
            <a:r>
              <a:rPr lang="en-US" b="1" dirty="0"/>
              <a:t>Data Points Used for Testing Hypotheses:</a:t>
            </a:r>
          </a:p>
          <a:p>
            <a:pPr marL="285750" indent="-285750">
              <a:lnSpc>
                <a:spcPct val="150000"/>
              </a:lnSpc>
              <a:buFont typeface="Arial" panose="020B0604020202020204" pitchFamily="34" charset="0"/>
              <a:buChar char="•"/>
            </a:pPr>
            <a:r>
              <a:rPr lang="en-US" dirty="0"/>
              <a:t>Forecast Accuracy: Measures correlation with E&amp;O to test Hypothesis 1</a:t>
            </a:r>
          </a:p>
          <a:p>
            <a:pPr marL="285750" indent="-285750">
              <a:lnSpc>
                <a:spcPct val="150000"/>
              </a:lnSpc>
              <a:buFont typeface="Arial" panose="020B0604020202020204" pitchFamily="34" charset="0"/>
              <a:buChar char="•"/>
            </a:pPr>
            <a:r>
              <a:rPr lang="en-US" dirty="0"/>
              <a:t>Lead Time and Supplier Variability: Examines relation to excess stock for Hypothesis 2</a:t>
            </a:r>
          </a:p>
          <a:p>
            <a:pPr marL="285750" indent="-285750">
              <a:lnSpc>
                <a:spcPct val="150000"/>
              </a:lnSpc>
              <a:buFont typeface="Arial" panose="020B0604020202020204" pitchFamily="34" charset="0"/>
              <a:buChar char="•"/>
            </a:pPr>
            <a:r>
              <a:rPr lang="en-US" dirty="0"/>
              <a:t>SKU Lifecycle Phases: Categorizes products by lifecycle phase for Hypothesis 3</a:t>
            </a:r>
          </a:p>
          <a:p>
            <a:pPr marL="285750" indent="-285750">
              <a:lnSpc>
                <a:spcPct val="150000"/>
              </a:lnSpc>
              <a:buFont typeface="Arial" panose="020B0604020202020204" pitchFamily="34" charset="0"/>
              <a:buChar char="•"/>
            </a:pPr>
            <a:r>
              <a:rPr lang="en-US" dirty="0"/>
              <a:t>Seasonality: Analyzes demand trends by subdivision for Hypothesis 4</a:t>
            </a:r>
          </a:p>
          <a:p>
            <a:pPr marL="285750" indent="-285750">
              <a:lnSpc>
                <a:spcPct val="150000"/>
              </a:lnSpc>
              <a:buFont typeface="Arial" panose="020B0604020202020204" pitchFamily="34" charset="0"/>
              <a:buChar char="•"/>
            </a:pPr>
            <a:r>
              <a:rPr lang="en-US" dirty="0"/>
              <a:t>Holding Costs: Evaluates the cost implications of E&amp;O for Hypothesis 5</a:t>
            </a:r>
          </a:p>
          <a:p>
            <a:pPr marL="285750" indent="-285750">
              <a:lnSpc>
                <a:spcPct val="150000"/>
              </a:lnSpc>
              <a:buFont typeface="Arial" panose="020B0604020202020204" pitchFamily="34" charset="0"/>
              <a:buChar char="•"/>
            </a:pPr>
            <a:endParaRPr lang="en-US" dirty="0"/>
          </a:p>
          <a:p>
            <a:pPr>
              <a:lnSpc>
                <a:spcPct val="150000"/>
              </a:lnSpc>
            </a:pPr>
            <a:r>
              <a:rPr lang="en-US" b="1" dirty="0"/>
              <a:t>Expected Outcome of Analysis:</a:t>
            </a:r>
          </a:p>
          <a:p>
            <a:pPr marL="285750" indent="-285750">
              <a:lnSpc>
                <a:spcPct val="150000"/>
              </a:lnSpc>
              <a:buFont typeface="Arial" panose="020B0604020202020204" pitchFamily="34" charset="0"/>
              <a:buChar char="•"/>
            </a:pPr>
            <a:r>
              <a:rPr lang="en-US" dirty="0"/>
              <a:t>Validate hypotheses to identify main drivers of E&amp;O.</a:t>
            </a:r>
          </a:p>
          <a:p>
            <a:pPr marL="285750" indent="-285750">
              <a:lnSpc>
                <a:spcPct val="150000"/>
              </a:lnSpc>
              <a:buFont typeface="Arial" panose="020B0604020202020204" pitchFamily="34" charset="0"/>
              <a:buChar char="•"/>
            </a:pPr>
            <a:r>
              <a:rPr lang="en-US" dirty="0"/>
              <a:t>Refine inventory management strategies based on findings.</a:t>
            </a:r>
            <a:endParaRPr lang="en-IN" dirty="0"/>
          </a:p>
        </p:txBody>
      </p:sp>
      <p:graphicFrame>
        <p:nvGraphicFramePr>
          <p:cNvPr id="9" name="Diagram 8">
            <a:extLst>
              <a:ext uri="{FF2B5EF4-FFF2-40B4-BE49-F238E27FC236}">
                <a16:creationId xmlns:a16="http://schemas.microsoft.com/office/drawing/2014/main" id="{39FA26C8-A51D-9CDA-0998-B5390F4B1096}"/>
              </a:ext>
            </a:extLst>
          </p:cNvPr>
          <p:cNvGraphicFramePr/>
          <p:nvPr>
            <p:extLst>
              <p:ext uri="{D42A27DB-BD31-4B8C-83A1-F6EECF244321}">
                <p14:modId xmlns:p14="http://schemas.microsoft.com/office/powerpoint/2010/main" val="4146644126"/>
              </p:ext>
            </p:extLst>
          </p:nvPr>
        </p:nvGraphicFramePr>
        <p:xfrm>
          <a:off x="1583944" y="5029200"/>
          <a:ext cx="8128000" cy="143831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3118474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DF6ECF7-6D52-9A2D-0B4B-5137C31D9597}"/>
              </a:ext>
            </a:extLst>
          </p:cNvPr>
          <p:cNvGraphicFramePr>
            <a:graphicFrameLocks noChangeAspect="1"/>
          </p:cNvGraphicFramePr>
          <p:nvPr>
            <p:custDataLst>
              <p:tags r:id="rId1"/>
            </p:custDataLst>
            <p:extLst>
              <p:ext uri="{D42A27DB-BD31-4B8C-83A1-F6EECF244321}">
                <p14:modId xmlns:p14="http://schemas.microsoft.com/office/powerpoint/2010/main" val="94712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DDF6ECF7-6D52-9A2D-0B4B-5137C31D95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819BC4A-61F7-4FD3-6F2D-D0702DD91B53}"/>
              </a:ext>
            </a:extLst>
          </p:cNvPr>
          <p:cNvSpPr txBox="1"/>
          <p:nvPr/>
        </p:nvSpPr>
        <p:spPr>
          <a:xfrm>
            <a:off x="2095500" y="2875002"/>
            <a:ext cx="8001000" cy="553998"/>
          </a:xfrm>
          <a:prstGeom prst="rect">
            <a:avLst/>
          </a:prstGeom>
          <a:noFill/>
        </p:spPr>
        <p:txBody>
          <a:bodyPr wrap="square">
            <a:spAutoFit/>
          </a:bodyPr>
          <a:lstStyle/>
          <a:p>
            <a:pPr algn="ctr"/>
            <a:r>
              <a:rPr lang="en-US" sz="3000" b="1" dirty="0"/>
              <a:t>Exploratory Data Analysis</a:t>
            </a:r>
            <a:endParaRPr lang="en-IN" sz="3000" b="1" dirty="0"/>
          </a:p>
        </p:txBody>
      </p:sp>
      <p:pic>
        <p:nvPicPr>
          <p:cNvPr id="11266" name="Picture 2" descr="Research icon">
            <a:extLst>
              <a:ext uri="{FF2B5EF4-FFF2-40B4-BE49-F238E27FC236}">
                <a16:creationId xmlns:a16="http://schemas.microsoft.com/office/drawing/2014/main" id="{6BD32F71-EEE0-D2D8-F524-424F26FE12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76889" y="2432001"/>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Statistics icon">
            <a:extLst>
              <a:ext uri="{FF2B5EF4-FFF2-40B4-BE49-F238E27FC236}">
                <a16:creationId xmlns:a16="http://schemas.microsoft.com/office/drawing/2014/main" id="{093DEDFC-0200-652A-266E-60C0425348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75113" y="2432001"/>
            <a:ext cx="1440000" cy="14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1318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E3467B-F08E-321C-2392-1F6CF9B7971B}"/>
              </a:ext>
            </a:extLst>
          </p:cNvPr>
          <p:cNvGraphicFramePr>
            <a:graphicFrameLocks noChangeAspect="1"/>
          </p:cNvGraphicFramePr>
          <p:nvPr>
            <p:custDataLst>
              <p:tags r:id="rId1"/>
            </p:custDataLst>
            <p:extLst>
              <p:ext uri="{D42A27DB-BD31-4B8C-83A1-F6EECF244321}">
                <p14:modId xmlns:p14="http://schemas.microsoft.com/office/powerpoint/2010/main" val="669480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FE3467B-F08E-321C-2392-1F6CF9B7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E0C209C-7B8E-EAD1-3ABE-E870D3247B76}"/>
              </a:ext>
            </a:extLst>
          </p:cNvPr>
          <p:cNvSpPr txBox="1"/>
          <p:nvPr/>
        </p:nvSpPr>
        <p:spPr>
          <a:xfrm>
            <a:off x="292099" y="952500"/>
            <a:ext cx="11691353" cy="4858189"/>
          </a:xfrm>
          <a:prstGeom prst="rect">
            <a:avLst/>
          </a:prstGeom>
          <a:noFill/>
        </p:spPr>
        <p:txBody>
          <a:bodyPr wrap="square" rtlCol="0">
            <a:spAutoFit/>
          </a:bodyPr>
          <a:lstStyle/>
          <a:p>
            <a:pPr>
              <a:lnSpc>
                <a:spcPct val="150000"/>
              </a:lnSpc>
            </a:pPr>
            <a:r>
              <a:rPr lang="en-US" sz="1600" b="1" dirty="0"/>
              <a:t>Data Preparation Steps</a:t>
            </a:r>
          </a:p>
          <a:p>
            <a:pPr marL="285750" indent="-285750">
              <a:lnSpc>
                <a:spcPct val="150000"/>
              </a:lnSpc>
              <a:buFont typeface="Arial" panose="020B0604020202020204" pitchFamily="34" charset="0"/>
              <a:buChar char="•"/>
            </a:pPr>
            <a:r>
              <a:rPr lang="en-US" sz="1600" dirty="0"/>
              <a:t>Missing Values: Imputed or removed missing values to ensure data completeness.</a:t>
            </a:r>
          </a:p>
          <a:p>
            <a:pPr marL="285750" indent="-285750">
              <a:lnSpc>
                <a:spcPct val="150000"/>
              </a:lnSpc>
              <a:buFont typeface="Arial" panose="020B0604020202020204" pitchFamily="34" charset="0"/>
              <a:buChar char="•"/>
            </a:pPr>
            <a:r>
              <a:rPr lang="en-US" sz="1600" dirty="0"/>
              <a:t>Standardization: Ensured consistent formats for dates, numbers, and categories for uniform analysis.</a:t>
            </a:r>
          </a:p>
          <a:p>
            <a:pPr marL="285750" indent="-285750">
              <a:lnSpc>
                <a:spcPct val="150000"/>
              </a:lnSpc>
              <a:buFont typeface="Arial" panose="020B0604020202020204" pitchFamily="34" charset="0"/>
              <a:buChar char="•"/>
            </a:pPr>
            <a:r>
              <a:rPr lang="en-US" sz="1600" dirty="0"/>
              <a:t>Outlier Removal: Identified and addressed outliers, especially in demand fluctuation and lead time, to prevent skewed results.</a:t>
            </a:r>
          </a:p>
          <a:p>
            <a:pPr marL="285750" indent="-285750">
              <a:lnSpc>
                <a:spcPct val="150000"/>
              </a:lnSpc>
              <a:buFont typeface="Arial" panose="020B0604020202020204" pitchFamily="34" charset="0"/>
              <a:buChar char="•"/>
            </a:pPr>
            <a:r>
              <a:rPr lang="en-US" sz="1600" dirty="0"/>
              <a:t>Data Consistency: Aligned units and formats across data sources to maintain data integrity.</a:t>
            </a:r>
          </a:p>
          <a:p>
            <a:pPr>
              <a:lnSpc>
                <a:spcPct val="150000"/>
              </a:lnSpc>
            </a:pPr>
            <a:endParaRPr lang="en-US" sz="1600" dirty="0"/>
          </a:p>
          <a:p>
            <a:pPr>
              <a:lnSpc>
                <a:spcPct val="150000"/>
              </a:lnSpc>
            </a:pPr>
            <a:r>
              <a:rPr lang="en-US" sz="1600" b="1" dirty="0"/>
              <a:t>Key Findings from EDA</a:t>
            </a:r>
          </a:p>
          <a:p>
            <a:pPr marL="285750" indent="-285750">
              <a:lnSpc>
                <a:spcPct val="150000"/>
              </a:lnSpc>
              <a:buFont typeface="Arial" panose="020B0604020202020204" pitchFamily="34" charset="0"/>
              <a:buChar char="•"/>
            </a:pPr>
            <a:r>
              <a:rPr lang="en-US" sz="1600" dirty="0"/>
              <a:t>Demand Variability: Significant variability observed in demand across subdivisions, particularly in Industrial Gases and Specialty Chemicals, indicating potential forecasting and stocking challenges.</a:t>
            </a:r>
          </a:p>
          <a:p>
            <a:pPr marL="285750" indent="-285750">
              <a:lnSpc>
                <a:spcPct val="150000"/>
              </a:lnSpc>
              <a:buFont typeface="Arial" panose="020B0604020202020204" pitchFamily="34" charset="0"/>
              <a:buChar char="•"/>
            </a:pPr>
            <a:r>
              <a:rPr lang="en-US" sz="1600" dirty="0"/>
              <a:t>Forecast Accuracy: Generally high across SKUs, but with notable exceptions. Lower accuracy in specific SKUs suggests areas for targeted forecast improvement.</a:t>
            </a:r>
          </a:p>
          <a:p>
            <a:pPr marL="285750" indent="-285750">
              <a:lnSpc>
                <a:spcPct val="150000"/>
              </a:lnSpc>
              <a:buFont typeface="Arial" panose="020B0604020202020204" pitchFamily="34" charset="0"/>
              <a:buChar char="•"/>
            </a:pPr>
            <a:r>
              <a:rPr lang="en-US" sz="1600" dirty="0"/>
              <a:t>Seasonal Trends: Clear seasonality in demand for Agrochemicals, with peaks in June and September, and dips in August and December. This highlights the need for dynamic inventory adjustments based on seasonality.</a:t>
            </a:r>
            <a:endParaRPr lang="en-IN" sz="1600" dirty="0"/>
          </a:p>
        </p:txBody>
      </p:sp>
      <p:sp>
        <p:nvSpPr>
          <p:cNvPr id="6" name="TextBox 5">
            <a:extLst>
              <a:ext uri="{FF2B5EF4-FFF2-40B4-BE49-F238E27FC236}">
                <a16:creationId xmlns:a16="http://schemas.microsoft.com/office/drawing/2014/main" id="{EBEF265C-FB1F-2774-3652-5A9389E3CC61}"/>
              </a:ext>
            </a:extLst>
          </p:cNvPr>
          <p:cNvSpPr txBox="1"/>
          <p:nvPr/>
        </p:nvSpPr>
        <p:spPr>
          <a:xfrm>
            <a:off x="-1" y="93018"/>
            <a:ext cx="12368463" cy="523220"/>
          </a:xfrm>
          <a:prstGeom prst="rect">
            <a:avLst/>
          </a:prstGeom>
          <a:noFill/>
        </p:spPr>
        <p:txBody>
          <a:bodyPr wrap="square" rtlCol="0">
            <a:spAutoFit/>
          </a:bodyPr>
          <a:lstStyle/>
          <a:p>
            <a:r>
              <a:rPr lang="en-US" sz="2800" b="1" dirty="0"/>
              <a:t>2.1 EDA and Data Preparation Summary</a:t>
            </a:r>
            <a:endParaRPr lang="en-IN" sz="2800" b="1" dirty="0"/>
          </a:p>
        </p:txBody>
      </p:sp>
      <p:cxnSp>
        <p:nvCxnSpPr>
          <p:cNvPr id="7" name="Straight Connector 6">
            <a:extLst>
              <a:ext uri="{FF2B5EF4-FFF2-40B4-BE49-F238E27FC236}">
                <a16:creationId xmlns:a16="http://schemas.microsoft.com/office/drawing/2014/main" id="{7B2BA875-D114-3915-A64C-A2F51C8013E9}"/>
              </a:ext>
            </a:extLst>
          </p:cNvPr>
          <p:cNvCxnSpPr/>
          <p:nvPr/>
        </p:nvCxnSpPr>
        <p:spPr>
          <a:xfrm>
            <a:off x="0" y="660400"/>
            <a:ext cx="12192000"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020971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b97ea58d-47e6-47cc-9ab7-39ab03def869}" enabled="1" method="Standard" siteId="{505cca53-5750-4134-9501-8d52d5df3cd1}" removed="0"/>
</clbl:labelList>
</file>

<file path=docProps/app.xml><?xml version="1.0" encoding="utf-8"?>
<Properties xmlns="http://schemas.openxmlformats.org/officeDocument/2006/extended-properties" xmlns:vt="http://schemas.openxmlformats.org/officeDocument/2006/docPropsVTypes">
  <TotalTime>1034</TotalTime>
  <Words>3085</Words>
  <Application>Microsoft Office PowerPoint</Application>
  <PresentationFormat>Widescreen</PresentationFormat>
  <Paragraphs>318</Paragraphs>
  <Slides>32</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9" baseType="lpstr">
      <vt:lpstr>Aptos</vt:lpstr>
      <vt:lpstr>Aptos Display</vt:lpstr>
      <vt:lpstr>Aptos Narrow</vt:lpstr>
      <vt:lpstr>Arial</vt:lpstr>
      <vt:lpstr>Fira Sans Book</vt:lpstr>
      <vt:lpstr>Office Theme</vt:lpstr>
      <vt:lpstr>think-cell Slide</vt:lpstr>
      <vt:lpstr>PowerPoint Presentation</vt:lpstr>
      <vt:lpstr>Build a POV for Root Cause Analysis of Excess and Obsolete Inventory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aimler Tru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 Varatharaj Kannan (365)</dc:creator>
  <cp:lastModifiedBy>S, Varatharaj Kannan (365)</cp:lastModifiedBy>
  <cp:revision>1</cp:revision>
  <dcterms:created xsi:type="dcterms:W3CDTF">2024-11-05T03:01:42Z</dcterms:created>
  <dcterms:modified xsi:type="dcterms:W3CDTF">2024-11-08T12:48:36Z</dcterms:modified>
</cp:coreProperties>
</file>